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tags/tag31.xml" ContentType="application/vnd.openxmlformats-officedocument.presentationml.tags+xml"/>
  <Override PartName="/ppt/charts/chart3.xml" ContentType="application/vnd.openxmlformats-officedocument.drawingml.chart+xml"/>
  <Override PartName="/ppt/tags/tag32.xml" ContentType="application/vnd.openxmlformats-officedocument.presentationml.tags+xml"/>
  <Override PartName="/ppt/charts/chart4.xml" ContentType="application/vnd.openxmlformats-officedocument.drawingml.chart+xml"/>
  <Override PartName="/ppt/tags/tag33.xml" ContentType="application/vnd.openxmlformats-officedocument.presentationml.tags+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6.xml" ContentType="application/vnd.openxmlformats-officedocument.presentationml.tags+xml"/>
  <Override PartName="/ppt/charts/chart11.xml" ContentType="application/vnd.openxmlformats-officedocument.drawingml.chart+xml"/>
  <Override PartName="/ppt/tags/tag37.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8.xml" ContentType="application/vnd.openxmlformats-officedocument.presentationml.tags+xml"/>
  <Override PartName="/ppt/charts/chart16.xml" ContentType="application/vnd.openxmlformats-officedocument.drawingml.chart+xml"/>
  <Override PartName="/ppt/tags/tag39.xml" ContentType="application/vnd.openxmlformats-officedocument.presentationml.tags+xml"/>
  <Override PartName="/ppt/charts/chart17.xml" ContentType="application/vnd.openxmlformats-officedocument.drawingml.chart+xml"/>
  <Override PartName="/ppt/tags/tag40.xml" ContentType="application/vnd.openxmlformats-officedocument.presentationml.tags+xml"/>
  <Override PartName="/ppt/charts/chart18.xml" ContentType="application/vnd.openxmlformats-officedocument.drawingml.chart+xml"/>
  <Override PartName="/ppt/tags/tag41.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2.xml" ContentType="application/vnd.openxmlformats-officedocument.presentationml.tags+xml"/>
  <Override PartName="/ppt/charts/chart22.xml" ContentType="application/vnd.openxmlformats-officedocument.drawingml.chart+xml"/>
  <Override PartName="/ppt/tags/tag43.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5.xml" ContentType="application/vnd.openxmlformats-officedocument.presentationml.tags+xml"/>
  <Override PartName="/ppt/charts/chart29.xml" ContentType="application/vnd.openxmlformats-officedocument.drawingml.chart+xml"/>
  <Override PartName="/ppt/tags/tag46.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7.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8.xml" ContentType="application/vnd.openxmlformats-officedocument.presentationml.tags+xml"/>
  <Override PartName="/ppt/charts/chart37.xml" ContentType="application/vnd.openxmlformats-officedocument.drawingml.chart+xml"/>
  <Override PartName="/ppt/tags/tag49.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86" r:id="rId5"/>
    <p:sldId id="2147475187" r:id="rId6"/>
    <p:sldId id="2147475188" r:id="rId7"/>
    <p:sldId id="2147475189" r:id="rId8"/>
    <p:sldId id="2147475190" r:id="rId9"/>
    <p:sldId id="2147475191" r:id="rId10"/>
    <p:sldId id="2147475192" r:id="rId11"/>
    <p:sldId id="2147475193" r:id="rId12"/>
    <p:sldId id="2147475194" r:id="rId13"/>
    <p:sldId id="2147475195" r:id="rId14"/>
    <p:sldId id="2147475196" r:id="rId15"/>
    <p:sldId id="2147475197" r:id="rId16"/>
    <p:sldId id="2147475198" r:id="rId17"/>
    <p:sldId id="2147475199" r:id="rId18"/>
    <p:sldId id="2147475200" r:id="rId19"/>
    <p:sldId id="2147475201" r:id="rId20"/>
    <p:sldId id="2147475202" r:id="rId21"/>
    <p:sldId id="2147475203" r:id="rId22"/>
    <p:sldId id="2147475204" r:id="rId23"/>
    <p:sldId id="2147475205" r:id="rId24"/>
    <p:sldId id="2147475206" r:id="rId25"/>
    <p:sldId id="2147475207"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165433B3-11A3-4E61-8D96-F2B19B839C75}">
          <p14:sldIdLst>
            <p14:sldId id="2147475186"/>
          </p14:sldIdLst>
        </p14:section>
        <p14:section name="Advanced Protection" id="{540574EB-EFC3-4741-A222-EAC5CB93E1AF}">
          <p14:sldIdLst>
            <p14:sldId id="2147475187"/>
            <p14:sldId id="2147475188"/>
            <p14:sldId id="2147475189"/>
          </p14:sldIdLst>
        </p14:section>
        <p14:section name="Baby" id="{60C5646A-0E67-4A34-9600-CA2AC4F7FCE5}">
          <p14:sldIdLst>
            <p14:sldId id="2147475190"/>
            <p14:sldId id="2147475191"/>
            <p14:sldId id="2147475192"/>
          </p14:sldIdLst>
        </p14:section>
        <p14:section name="Beautycare" id="{E1B7D547-B750-40F0-9176-822B7CCD88F4}">
          <p14:sldIdLst>
            <p14:sldId id="2147475193"/>
            <p14:sldId id="2147475194"/>
            <p14:sldId id="2147475195"/>
          </p14:sldIdLst>
        </p14:section>
        <p14:section name="Kids" id="{70F8470B-C4E9-4101-8AEB-C2F18E04292F}">
          <p14:sldIdLst>
            <p14:sldId id="2147475196"/>
            <p14:sldId id="2147475197"/>
            <p14:sldId id="2147475198"/>
          </p14:sldIdLst>
        </p14:section>
        <p14:section name="Ozono" id="{3D64CFFD-D022-4B63-BACA-ADAF0C1DD678}">
          <p14:sldIdLst>
            <p14:sldId id="2147475199"/>
            <p14:sldId id="2147475200"/>
            <p14:sldId id="2147475201"/>
          </p14:sldIdLst>
        </p14:section>
        <p14:section name="Silk Hydration" id="{5061367A-59A5-49B6-AE87-321C8233DD96}">
          <p14:sldIdLst>
            <p14:sldId id="2147475202"/>
            <p14:sldId id="2147475203"/>
            <p14:sldId id="2147475204"/>
          </p14:sldIdLst>
        </p14:section>
        <p14:section name="Sport" id="{CE6E4A5F-2DFF-4611-AC5A-8105FC43C0B9}">
          <p14:sldIdLst>
            <p14:sldId id="2147475205"/>
            <p14:sldId id="2147475206"/>
            <p14:sldId id="214747520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65" d="100"/>
          <a:sy n="65" d="100"/>
        </p:scale>
        <p:origin x="22" y="95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006C6D"/>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r>
                      <a:rPr lang="en-US"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Banana Boat Advanced Protection Lotion FPS50+ 360ml</c:v>
                </c:pt>
                <c:pt idx="7">
                  <c:v>Hawaiian Tropic Ozono Lotion FPS50+ 240ml</c:v>
                </c:pt>
                <c:pt idx="8">
                  <c:v>Caribbean Beach Sport Cream FPS50+ 250g</c:v>
                </c:pt>
                <c:pt idx="9">
                  <c:v>Caribbean Beach Ultra Cream FPS50+ 250g</c:v>
                </c:pt>
                <c:pt idx="10">
                  <c:v>Hawaiian Tropic Island Sport Lotion FPS50 240ml</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Avène Emulsion Mat Perfect Cream FPS50+ 50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6.4104806943778403E-2</c:v>
                </c:pt>
                <c:pt idx="1">
                  <c:v>3.8899405121258362E-2</c:v>
                </c:pt>
                <c:pt idx="2">
                  <c:v>3.5721472277896571E-2</c:v>
                </c:pt>
                <c:pt idx="3">
                  <c:v>3.5259194876446111E-2</c:v>
                </c:pt>
                <c:pt idx="4">
                  <c:v>3.2311606539566259E-2</c:v>
                </c:pt>
                <c:pt idx="5">
                  <c:v>3.0454035476373483E-2</c:v>
                </c:pt>
                <c:pt idx="6">
                  <c:v>2.9565768448713475E-2</c:v>
                </c:pt>
                <c:pt idx="7">
                  <c:v>2.9349244870032293E-2</c:v>
                </c:pt>
                <c:pt idx="8">
                  <c:v>2.8072949270622163E-2</c:v>
                </c:pt>
                <c:pt idx="9">
                  <c:v>2.5714028281423395E-2</c:v>
                </c:pt>
                <c:pt idx="10">
                  <c:v>2.5698952348135531E-2</c:v>
                </c:pt>
                <c:pt idx="11">
                  <c:v>2.4771290254534922E-2</c:v>
                </c:pt>
                <c:pt idx="12">
                  <c:v>2.2453545428177131E-2</c:v>
                </c:pt>
                <c:pt idx="13">
                  <c:v>2.2094248833676156E-2</c:v>
                </c:pt>
                <c:pt idx="14">
                  <c:v>1.9972387584458361E-2</c:v>
                </c:pt>
                <c:pt idx="15">
                  <c:v>1.9322133307597984E-2</c:v>
                </c:pt>
                <c:pt idx="16">
                  <c:v>1.8756678198085529E-2</c:v>
                </c:pt>
                <c:pt idx="17">
                  <c:v>1.8382305339625177E-2</c:v>
                </c:pt>
                <c:pt idx="18">
                  <c:v>1.7710394658958666E-2</c:v>
                </c:pt>
                <c:pt idx="19">
                  <c:v>1.7579139416842523E-2</c:v>
                </c:pt>
                <c:pt idx="20">
                  <c:v>1.6131418203235957E-2</c:v>
                </c:pt>
                <c:pt idx="21">
                  <c:v>1.6032125084795512E-2</c:v>
                </c:pt>
                <c:pt idx="22">
                  <c:v>1.5133104382017487E-2</c:v>
                </c:pt>
                <c:pt idx="23">
                  <c:v>1.3440439035670859E-2</c:v>
                </c:pt>
                <c:pt idx="24">
                  <c:v>1.3246477913933307E-2</c:v>
                </c:pt>
                <c:pt idx="25">
                  <c:v>1.2748590641851441E-2</c:v>
                </c:pt>
                <c:pt idx="26">
                  <c:v>1.2475225538267964E-2</c:v>
                </c:pt>
                <c:pt idx="27">
                  <c:v>1.2450117782278596E-2</c:v>
                </c:pt>
                <c:pt idx="28">
                  <c:v>1.2426062710148665E-2</c:v>
                </c:pt>
                <c:pt idx="29">
                  <c:v>1.1922269719180135E-2</c:v>
                </c:pt>
                <c:pt idx="30">
                  <c:v>1.1148795666882301E-2</c:v>
                </c:pt>
                <c:pt idx="31">
                  <c:v>1.10847647534436E-2</c:v>
                </c:pt>
                <c:pt idx="32">
                  <c:v>1.0706272905898068E-2</c:v>
                </c:pt>
                <c:pt idx="33">
                  <c:v>1.0419559283952782E-2</c:v>
                </c:pt>
                <c:pt idx="34">
                  <c:v>1.0017991810336562E-2</c:v>
                </c:pt>
                <c:pt idx="35">
                  <c:v>9.975326310278301E-3</c:v>
                </c:pt>
                <c:pt idx="36">
                  <c:v>9.825417816242004E-3</c:v>
                </c:pt>
                <c:pt idx="37">
                  <c:v>9.6527818808971131E-3</c:v>
                </c:pt>
                <c:pt idx="38">
                  <c:v>9.1024977298712981E-3</c:v>
                </c:pt>
                <c:pt idx="39">
                  <c:v>8.9249271694822781E-3</c:v>
                </c:pt>
                <c:pt idx="40">
                  <c:v>8.6813950116785277E-3</c:v>
                </c:pt>
                <c:pt idx="41">
                  <c:v>8.6071116839810981E-3</c:v>
                </c:pt>
                <c:pt idx="42">
                  <c:v>8.2691473620792495E-3</c:v>
                </c:pt>
                <c:pt idx="43">
                  <c:v>8.2122050796430163E-3</c:v>
                </c:pt>
                <c:pt idx="44">
                  <c:v>7.8864652278982945E-3</c:v>
                </c:pt>
                <c:pt idx="45">
                  <c:v>7.8513438618346299E-3</c:v>
                </c:pt>
                <c:pt idx="46">
                  <c:v>7.621546894823316E-3</c:v>
                </c:pt>
                <c:pt idx="47">
                  <c:v>7.2076879465634682E-3</c:v>
                </c:pt>
                <c:pt idx="48">
                  <c:v>7.1023018737762355E-3</c:v>
                </c:pt>
                <c:pt idx="49">
                  <c:v>6.8257126749430653E-3</c:v>
                </c:pt>
                <c:pt idx="50">
                  <c:v>6.7097783378462046E-3</c:v>
                </c:pt>
                <c:pt idx="51">
                  <c:v>6.5372044577602772E-3</c:v>
                </c:pt>
                <c:pt idx="52">
                  <c:v>6.428125321604387E-3</c:v>
                </c:pt>
                <c:pt idx="53">
                  <c:v>6.1116623590748839E-3</c:v>
                </c:pt>
                <c:pt idx="54">
                  <c:v>6.0808071100789734E-3</c:v>
                </c:pt>
                <c:pt idx="55">
                  <c:v>5.8484311088108183E-3</c:v>
                </c:pt>
                <c:pt idx="56">
                  <c:v>5.7808512543056703E-3</c:v>
                </c:pt>
                <c:pt idx="57">
                  <c:v>5.1217135966162225E-3</c:v>
                </c:pt>
                <c:pt idx="58">
                  <c:v>4.856508655431563E-3</c:v>
                </c:pt>
                <c:pt idx="59">
                  <c:v>4.8444280589480752E-3</c:v>
                </c:pt>
                <c:pt idx="60">
                  <c:v>4.6327820331147854E-3</c:v>
                </c:pt>
                <c:pt idx="61">
                  <c:v>4.600978370936001E-3</c:v>
                </c:pt>
                <c:pt idx="62">
                  <c:v>4.5982010625283823E-3</c:v>
                </c:pt>
                <c:pt idx="63">
                  <c:v>4.5072528230906258E-3</c:v>
                </c:pt>
                <c:pt idx="64">
                  <c:v>4.3401635660868338E-3</c:v>
                </c:pt>
                <c:pt idx="65">
                  <c:v>4.2674612466686267E-3</c:v>
                </c:pt>
                <c:pt idx="66">
                  <c:v>4.1838089751272825E-3</c:v>
                </c:pt>
                <c:pt idx="67">
                  <c:v>3.9117904349669583E-3</c:v>
                </c:pt>
                <c:pt idx="68">
                  <c:v>3.7885641892300369E-3</c:v>
                </c:pt>
                <c:pt idx="69">
                  <c:v>3.7417983513101266E-3</c:v>
                </c:pt>
                <c:pt idx="70">
                  <c:v>3.5010086779519748E-3</c:v>
                </c:pt>
                <c:pt idx="71">
                  <c:v>3.3608467669500371E-3</c:v>
                </c:pt>
                <c:pt idx="72">
                  <c:v>3.1528980060513377E-3</c:v>
                </c:pt>
                <c:pt idx="73">
                  <c:v>2.8585376425933609E-3</c:v>
                </c:pt>
                <c:pt idx="74">
                  <c:v>2.7496976602885523E-3</c:v>
                </c:pt>
                <c:pt idx="75">
                  <c:v>2.5780861945296097E-3</c:v>
                </c:pt>
                <c:pt idx="76">
                  <c:v>2.3970106940851971E-3</c:v>
                </c:pt>
                <c:pt idx="77">
                  <c:v>2.3796612599740396E-3</c:v>
                </c:pt>
                <c:pt idx="78">
                  <c:v>1.8305742433360678E-3</c:v>
                </c:pt>
                <c:pt idx="79">
                  <c:v>1.8268640401119323E-3</c:v>
                </c:pt>
                <c:pt idx="80">
                  <c:v>1.1498320685032564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7ECAC4"/>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7ECAC4"/>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7ECAC4"/>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006C6D"/>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r>
                      <a:rPr lang="en-US"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Beautycare Glow Lip Oil FPS50+ 10g</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611823601928076E-2</c:v>
                </c:pt>
                <c:pt idx="1">
                  <c:v>3.9900237568139665E-2</c:v>
                </c:pt>
                <c:pt idx="2">
                  <c:v>3.8600559177799143E-2</c:v>
                </c:pt>
                <c:pt idx="3">
                  <c:v>3.6186710421366598E-2</c:v>
                </c:pt>
                <c:pt idx="4">
                  <c:v>3.4187044518862411E-2</c:v>
                </c:pt>
                <c:pt idx="5">
                  <c:v>3.09371797525053E-2</c:v>
                </c:pt>
                <c:pt idx="6">
                  <c:v>3.0682370176481025E-2</c:v>
                </c:pt>
                <c:pt idx="7">
                  <c:v>2.8830608106767644E-2</c:v>
                </c:pt>
                <c:pt idx="8">
                  <c:v>2.7945823232704847E-2</c:v>
                </c:pt>
                <c:pt idx="9">
                  <c:v>2.6295683895156973E-2</c:v>
                </c:pt>
                <c:pt idx="10">
                  <c:v>2.4903570702644314E-2</c:v>
                </c:pt>
                <c:pt idx="11">
                  <c:v>2.3025496755487086E-2</c:v>
                </c:pt>
                <c:pt idx="12">
                  <c:v>2.2809028463073564E-2</c:v>
                </c:pt>
                <c:pt idx="13">
                  <c:v>2.1009066755270742E-2</c:v>
                </c:pt>
                <c:pt idx="14">
                  <c:v>1.9502581387932282E-2</c:v>
                </c:pt>
                <c:pt idx="15">
                  <c:v>1.9064734176609973E-2</c:v>
                </c:pt>
                <c:pt idx="16">
                  <c:v>1.8939436225704369E-2</c:v>
                </c:pt>
                <c:pt idx="17">
                  <c:v>1.8261743580169118E-2</c:v>
                </c:pt>
                <c:pt idx="18">
                  <c:v>1.8057279936149636E-2</c:v>
                </c:pt>
                <c:pt idx="19">
                  <c:v>1.6511913452710327E-2</c:v>
                </c:pt>
                <c:pt idx="20">
                  <c:v>1.6237501772592443E-2</c:v>
                </c:pt>
                <c:pt idx="21">
                  <c:v>1.5700228683620199E-2</c:v>
                </c:pt>
                <c:pt idx="22">
                  <c:v>1.3742846634617291E-2</c:v>
                </c:pt>
                <c:pt idx="23">
                  <c:v>1.3537765913950665E-2</c:v>
                </c:pt>
                <c:pt idx="24">
                  <c:v>1.3075038954792428E-2</c:v>
                </c:pt>
                <c:pt idx="25">
                  <c:v>1.2743807473585817E-2</c:v>
                </c:pt>
                <c:pt idx="26">
                  <c:v>1.2577147830441575E-2</c:v>
                </c:pt>
                <c:pt idx="27">
                  <c:v>1.2507045148653957E-2</c:v>
                </c:pt>
                <c:pt idx="28">
                  <c:v>1.2159069835380277E-2</c:v>
                </c:pt>
                <c:pt idx="29">
                  <c:v>1.1318350946838248E-2</c:v>
                </c:pt>
                <c:pt idx="30">
                  <c:v>1.130098739687843E-2</c:v>
                </c:pt>
                <c:pt idx="31">
                  <c:v>1.0879356725748895E-2</c:v>
                </c:pt>
                <c:pt idx="32">
                  <c:v>1.0534528700843556E-2</c:v>
                </c:pt>
                <c:pt idx="33">
                  <c:v>1.0352641946633961E-2</c:v>
                </c:pt>
                <c:pt idx="34">
                  <c:v>1.016632995314307E-2</c:v>
                </c:pt>
                <c:pt idx="35">
                  <c:v>9.9207424970958816E-3</c:v>
                </c:pt>
                <c:pt idx="36">
                  <c:v>9.8165683801481902E-3</c:v>
                </c:pt>
                <c:pt idx="37">
                  <c:v>9.2129942577212961E-3</c:v>
                </c:pt>
                <c:pt idx="38">
                  <c:v>9.1788519117004461E-3</c:v>
                </c:pt>
                <c:pt idx="39">
                  <c:v>8.8314667856895079E-3</c:v>
                </c:pt>
                <c:pt idx="40">
                  <c:v>8.718291394593276E-3</c:v>
                </c:pt>
                <c:pt idx="41">
                  <c:v>8.4254329648788488E-3</c:v>
                </c:pt>
                <c:pt idx="42">
                  <c:v>8.286397890195564E-3</c:v>
                </c:pt>
                <c:pt idx="43">
                  <c:v>8.039456791946958E-3</c:v>
                </c:pt>
                <c:pt idx="44">
                  <c:v>7.9131592770096976E-3</c:v>
                </c:pt>
                <c:pt idx="45">
                  <c:v>7.7306029398872336E-3</c:v>
                </c:pt>
                <c:pt idx="46">
                  <c:v>7.5131542981680451E-3</c:v>
                </c:pt>
                <c:pt idx="47">
                  <c:v>7.1662091494402698E-3</c:v>
                </c:pt>
                <c:pt idx="48">
                  <c:v>6.9361131669052577E-3</c:v>
                </c:pt>
                <c:pt idx="49">
                  <c:v>6.8763419719181989E-3</c:v>
                </c:pt>
                <c:pt idx="50">
                  <c:v>6.6621231338283241E-3</c:v>
                </c:pt>
                <c:pt idx="51">
                  <c:v>6.5792835005112566E-3</c:v>
                </c:pt>
                <c:pt idx="52">
                  <c:v>6.3204790555799291E-3</c:v>
                </c:pt>
                <c:pt idx="53">
                  <c:v>6.2241295466957079E-3</c:v>
                </c:pt>
                <c:pt idx="54">
                  <c:v>5.9448640508934824E-3</c:v>
                </c:pt>
                <c:pt idx="55">
                  <c:v>5.8322753766960047E-3</c:v>
                </c:pt>
                <c:pt idx="56">
                  <c:v>5.2798996432261653E-3</c:v>
                </c:pt>
                <c:pt idx="57">
                  <c:v>4.9602043723541668E-3</c:v>
                </c:pt>
                <c:pt idx="58">
                  <c:v>4.9589819375854133E-3</c:v>
                </c:pt>
                <c:pt idx="59">
                  <c:v>4.7288850947149229E-3</c:v>
                </c:pt>
                <c:pt idx="60">
                  <c:v>4.6964082341432057E-3</c:v>
                </c:pt>
                <c:pt idx="61">
                  <c:v>4.6144616581737692E-3</c:v>
                </c:pt>
                <c:pt idx="62">
                  <c:v>4.5429336452436093E-3</c:v>
                </c:pt>
                <c:pt idx="63">
                  <c:v>4.4219925486079772E-3</c:v>
                </c:pt>
                <c:pt idx="64">
                  <c:v>4.3697544044945576E-3</c:v>
                </c:pt>
                <c:pt idx="65">
                  <c:v>4.2098210688505328E-3</c:v>
                </c:pt>
                <c:pt idx="66">
                  <c:v>4.0079581888406712E-3</c:v>
                </c:pt>
                <c:pt idx="67">
                  <c:v>3.8180038530752215E-3</c:v>
                </c:pt>
                <c:pt idx="68">
                  <c:v>3.8075683540498063E-3</c:v>
                </c:pt>
                <c:pt idx="69">
                  <c:v>3.5129185105800282E-3</c:v>
                </c:pt>
                <c:pt idx="70">
                  <c:v>3.4512330033360018E-3</c:v>
                </c:pt>
                <c:pt idx="71">
                  <c:v>3.2666555373091375E-3</c:v>
                </c:pt>
                <c:pt idx="72">
                  <c:v>3.0594053406037035E-3</c:v>
                </c:pt>
                <c:pt idx="73">
                  <c:v>2.9035479031148627E-3</c:v>
                </c:pt>
                <c:pt idx="74">
                  <c:v>2.7940176463914792E-3</c:v>
                </c:pt>
                <c:pt idx="75">
                  <c:v>2.6278960850232022E-3</c:v>
                </c:pt>
                <c:pt idx="76">
                  <c:v>2.4166679782254988E-3</c:v>
                </c:pt>
                <c:pt idx="77">
                  <c:v>2.4159188542635249E-3</c:v>
                </c:pt>
                <c:pt idx="78">
                  <c:v>1.8753981801704549E-3</c:v>
                </c:pt>
                <c:pt idx="79">
                  <c:v>1.865399779123679E-3</c:v>
                </c:pt>
                <c:pt idx="80">
                  <c:v>1.1695900318110907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142.68083022486493</c:v>
                </c:pt>
                <c:pt idx="1">
                  <c:v>124.1439186854498</c:v>
                </c:pt>
                <c:pt idx="2">
                  <c:v>143.43350326220238</c:v>
                </c:pt>
                <c:pt idx="3">
                  <c:v>174.271006903903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45.04228416364126</c:v>
                </c:pt>
                <c:pt idx="1">
                  <c:v>125.8496061844195</c:v>
                </c:pt>
                <c:pt idx="2">
                  <c:v>140.42836488541403</c:v>
                </c:pt>
                <c:pt idx="3">
                  <c:v>146.185820701668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144.45674558288448</c:v>
                </c:pt>
                <c:pt idx="1">
                  <c:v>127.91536947597497</c:v>
                </c:pt>
                <c:pt idx="2">
                  <c:v>121.79337218311784</c:v>
                </c:pt>
                <c:pt idx="3">
                  <c:v>144.421327123747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0251774660030675E-2</c:v>
                </c:pt>
                <c:pt idx="1">
                  <c:v>4.9487854841484789E-2</c:v>
                </c:pt>
                <c:pt idx="2">
                  <c:v>3.9426001023836615E-2</c:v>
                </c:pt>
                <c:pt idx="3">
                  <c:v>2.7547822992465686E-2</c:v>
                </c:pt>
                <c:pt idx="4">
                  <c:v>2.9249851604353602E-2</c:v>
                </c:pt>
                <c:pt idx="5">
                  <c:v>2.7883477354208219E-2</c:v>
                </c:pt>
                <c:pt idx="6">
                  <c:v>2.5358489661323154E-2</c:v>
                </c:pt>
                <c:pt idx="7">
                  <c:v>2.6059684398345863E-2</c:v>
                </c:pt>
                <c:pt idx="8">
                  <c:v>2.4983722771402712E-2</c:v>
                </c:pt>
                <c:pt idx="9">
                  <c:v>2.2570607196699628E-2</c:v>
                </c:pt>
                <c:pt idx="10">
                  <c:v>2.0037162787870374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9735104519511147E-2</c:v>
                </c:pt>
                <c:pt idx="1">
                  <c:v>5.9229355987738153E-2</c:v>
                </c:pt>
                <c:pt idx="2">
                  <c:v>3.6205571099947334E-2</c:v>
                </c:pt>
                <c:pt idx="3">
                  <c:v>3.6088332682450312E-2</c:v>
                </c:pt>
                <c:pt idx="4">
                  <c:v>4.4363742196879455E-2</c:v>
                </c:pt>
                <c:pt idx="5">
                  <c:v>2.7622222544892334E-2</c:v>
                </c:pt>
                <c:pt idx="6">
                  <c:v>2.74108115280788E-2</c:v>
                </c:pt>
                <c:pt idx="7">
                  <c:v>2.4472000669324877E-2</c:v>
                </c:pt>
                <c:pt idx="8">
                  <c:v>2.257011216150059E-2</c:v>
                </c:pt>
                <c:pt idx="9">
                  <c:v>2.4593690573917571E-2</c:v>
                </c:pt>
                <c:pt idx="10">
                  <c:v>2.6054907649063815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3008424879100791E-2</c:v>
                </c:pt>
                <c:pt idx="1">
                  <c:v>4.6021324231203781E-2</c:v>
                </c:pt>
                <c:pt idx="2">
                  <c:v>3.7314137868284789E-2</c:v>
                </c:pt>
                <c:pt idx="3">
                  <c:v>3.7268574872599658E-2</c:v>
                </c:pt>
                <c:pt idx="4">
                  <c:v>3.2824175622971172E-2</c:v>
                </c:pt>
                <c:pt idx="5">
                  <c:v>2.1854578644318619E-2</c:v>
                </c:pt>
                <c:pt idx="6">
                  <c:v>2.5180483228247237E-2</c:v>
                </c:pt>
                <c:pt idx="7">
                  <c:v>2.4766542010356059E-2</c:v>
                </c:pt>
                <c:pt idx="8">
                  <c:v>2.472003862772602E-2</c:v>
                </c:pt>
                <c:pt idx="9">
                  <c:v>2.0805595910673238E-2</c:v>
                </c:pt>
                <c:pt idx="10">
                  <c:v>2.39038578517567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5814552664868775E-2</c:v>
                </c:pt>
                <c:pt idx="1">
                  <c:v>4.7749201588291885E-2</c:v>
                </c:pt>
                <c:pt idx="2">
                  <c:v>3.4256327362639477E-2</c:v>
                </c:pt>
                <c:pt idx="3">
                  <c:v>3.9654990998981413E-2</c:v>
                </c:pt>
                <c:pt idx="4">
                  <c:v>2.8715637098695661E-2</c:v>
                </c:pt>
                <c:pt idx="5">
                  <c:v>2.4394021347839405E-2</c:v>
                </c:pt>
                <c:pt idx="6">
                  <c:v>2.3376083880684947E-2</c:v>
                </c:pt>
                <c:pt idx="7">
                  <c:v>1.9556190388694342E-2</c:v>
                </c:pt>
                <c:pt idx="8">
                  <c:v>2.2186860959092496E-2</c:v>
                </c:pt>
                <c:pt idx="9">
                  <c:v>2.4111775340852518E-2</c:v>
                </c:pt>
                <c:pt idx="10">
                  <c:v>2.1497694978009674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006C6D"/>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r>
                      <a:rPr lang="en-US"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Neutrogena Sun Fresh Cream FPS50 120ml</c:v>
                </c:pt>
                <c:pt idx="31">
                  <c:v>Banana Boat Dry Balance Sport Spray FPS50 17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Kids Sport Spray FPS50+ 240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Caribbean Beach Cuidado Face Cream FPS50+ 85ml</c:v>
                </c:pt>
                <c:pt idx="52">
                  <c:v>Banana Boat Aqua Protect Spray FPS50+ 170g</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Avene Emulsion Ultra-Mat Fluid FPS50+ 50ml</c:v>
                </c:pt>
                <c:pt idx="63">
                  <c:v>Banana Boat Aqua Protect Sport Spray FPS50+ 170g</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430265027375978E-2</c:v>
                </c:pt>
                <c:pt idx="1">
                  <c:v>3.9655386049840376E-2</c:v>
                </c:pt>
                <c:pt idx="2">
                  <c:v>3.8460362338371974E-2</c:v>
                </c:pt>
                <c:pt idx="3">
                  <c:v>3.6104299775445048E-2</c:v>
                </c:pt>
                <c:pt idx="4">
                  <c:v>3.403960724677204E-2</c:v>
                </c:pt>
                <c:pt idx="5">
                  <c:v>3.0891979616872903E-2</c:v>
                </c:pt>
                <c:pt idx="6">
                  <c:v>3.0531738462063796E-2</c:v>
                </c:pt>
                <c:pt idx="7">
                  <c:v>2.8728503652535584E-2</c:v>
                </c:pt>
                <c:pt idx="8">
                  <c:v>2.7818346235535168E-2</c:v>
                </c:pt>
                <c:pt idx="9">
                  <c:v>2.6253242941218204E-2</c:v>
                </c:pt>
                <c:pt idx="10">
                  <c:v>2.4869319841694305E-2</c:v>
                </c:pt>
                <c:pt idx="11">
                  <c:v>2.2940936857163273E-2</c:v>
                </c:pt>
                <c:pt idx="12">
                  <c:v>2.2523822636739941E-2</c:v>
                </c:pt>
                <c:pt idx="13">
                  <c:v>2.0879866442091902E-2</c:v>
                </c:pt>
                <c:pt idx="14">
                  <c:v>1.9439977806630301E-2</c:v>
                </c:pt>
                <c:pt idx="15">
                  <c:v>1.8991991964240628E-2</c:v>
                </c:pt>
                <c:pt idx="16">
                  <c:v>1.8948417521025111E-2</c:v>
                </c:pt>
                <c:pt idx="17">
                  <c:v>1.8159998856057416E-2</c:v>
                </c:pt>
                <c:pt idx="18">
                  <c:v>1.8027959623093205E-2</c:v>
                </c:pt>
                <c:pt idx="19">
                  <c:v>1.6464885476538141E-2</c:v>
                </c:pt>
                <c:pt idx="20">
                  <c:v>1.6216602256280962E-2</c:v>
                </c:pt>
                <c:pt idx="21">
                  <c:v>1.5551705174164206E-2</c:v>
                </c:pt>
                <c:pt idx="22">
                  <c:v>1.3649782756430437E-2</c:v>
                </c:pt>
                <c:pt idx="23">
                  <c:v>1.3483809926274634E-2</c:v>
                </c:pt>
                <c:pt idx="24">
                  <c:v>1.3068339349651655E-2</c:v>
                </c:pt>
                <c:pt idx="25">
                  <c:v>1.2737563488166079E-2</c:v>
                </c:pt>
                <c:pt idx="26">
                  <c:v>1.2553306310369173E-2</c:v>
                </c:pt>
                <c:pt idx="27">
                  <c:v>1.2500208139432313E-2</c:v>
                </c:pt>
                <c:pt idx="28">
                  <c:v>1.2125156788664528E-2</c:v>
                </c:pt>
                <c:pt idx="29">
                  <c:v>1.128939679477012E-2</c:v>
                </c:pt>
                <c:pt idx="30">
                  <c:v>1.0880527002223519E-2</c:v>
                </c:pt>
                <c:pt idx="31">
                  <c:v>1.0876891053309719E-2</c:v>
                </c:pt>
                <c:pt idx="32">
                  <c:v>1.051045487505845E-2</c:v>
                </c:pt>
                <c:pt idx="33">
                  <c:v>1.0328016759558219E-2</c:v>
                </c:pt>
                <c:pt idx="34">
                  <c:v>1.0163512658858337E-2</c:v>
                </c:pt>
                <c:pt idx="35">
                  <c:v>9.8778703644910679E-3</c:v>
                </c:pt>
                <c:pt idx="36">
                  <c:v>9.7911354883717747E-3</c:v>
                </c:pt>
                <c:pt idx="37">
                  <c:v>9.1843765994328707E-3</c:v>
                </c:pt>
                <c:pt idx="38">
                  <c:v>9.1716105933589889E-3</c:v>
                </c:pt>
                <c:pt idx="39">
                  <c:v>8.8325555809486561E-3</c:v>
                </c:pt>
                <c:pt idx="40">
                  <c:v>8.7141030461312594E-3</c:v>
                </c:pt>
                <c:pt idx="41">
                  <c:v>8.4182255511466766E-3</c:v>
                </c:pt>
                <c:pt idx="42">
                  <c:v>8.2721005025070144E-3</c:v>
                </c:pt>
                <c:pt idx="43">
                  <c:v>7.9313566887883255E-3</c:v>
                </c:pt>
                <c:pt idx="44">
                  <c:v>7.9157776191313527E-3</c:v>
                </c:pt>
                <c:pt idx="45">
                  <c:v>7.7326807335142888E-3</c:v>
                </c:pt>
                <c:pt idx="46">
                  <c:v>7.6877537220326276E-3</c:v>
                </c:pt>
                <c:pt idx="47">
                  <c:v>7.4062426358210611E-3</c:v>
                </c:pt>
                <c:pt idx="48">
                  <c:v>7.132762357270183E-3</c:v>
                </c:pt>
                <c:pt idx="49">
                  <c:v>6.906348610255149E-3</c:v>
                </c:pt>
                <c:pt idx="50">
                  <c:v>6.8466187064829959E-3</c:v>
                </c:pt>
                <c:pt idx="51">
                  <c:v>6.5720598426598567E-3</c:v>
                </c:pt>
                <c:pt idx="52">
                  <c:v>6.5326446955237044E-3</c:v>
                </c:pt>
                <c:pt idx="53">
                  <c:v>6.1934194148844501E-3</c:v>
                </c:pt>
                <c:pt idx="54">
                  <c:v>6.1728521693605815E-3</c:v>
                </c:pt>
                <c:pt idx="55">
                  <c:v>5.9443566689866816E-3</c:v>
                </c:pt>
                <c:pt idx="56">
                  <c:v>5.8402443708314685E-3</c:v>
                </c:pt>
                <c:pt idx="57">
                  <c:v>5.242235359200066E-3</c:v>
                </c:pt>
                <c:pt idx="58">
                  <c:v>4.9120584455684254E-3</c:v>
                </c:pt>
                <c:pt idx="59">
                  <c:v>4.906217025915858E-3</c:v>
                </c:pt>
                <c:pt idx="60">
                  <c:v>4.6058567810730415E-3</c:v>
                </c:pt>
                <c:pt idx="61">
                  <c:v>4.5976964175652585E-3</c:v>
                </c:pt>
                <c:pt idx="62">
                  <c:v>4.5329467358579279E-3</c:v>
                </c:pt>
                <c:pt idx="63">
                  <c:v>4.511570155306328E-3</c:v>
                </c:pt>
                <c:pt idx="64">
                  <c:v>4.3848191626416023E-3</c:v>
                </c:pt>
                <c:pt idx="65">
                  <c:v>4.3212570762223533E-3</c:v>
                </c:pt>
                <c:pt idx="66">
                  <c:v>4.1914510957074772E-3</c:v>
                </c:pt>
                <c:pt idx="67">
                  <c:v>3.9376628861324528E-3</c:v>
                </c:pt>
                <c:pt idx="68">
                  <c:v>3.8004507963828402E-3</c:v>
                </c:pt>
                <c:pt idx="69">
                  <c:v>3.7518115762950484E-3</c:v>
                </c:pt>
                <c:pt idx="70">
                  <c:v>3.5141339254615043E-3</c:v>
                </c:pt>
                <c:pt idx="71">
                  <c:v>3.4190230191781697E-3</c:v>
                </c:pt>
                <c:pt idx="72">
                  <c:v>3.2283264697988904E-3</c:v>
                </c:pt>
                <c:pt idx="73">
                  <c:v>2.8944454837205279E-3</c:v>
                </c:pt>
                <c:pt idx="74">
                  <c:v>2.7774084319980626E-3</c:v>
                </c:pt>
                <c:pt idx="75">
                  <c:v>2.6205879392102245E-3</c:v>
                </c:pt>
                <c:pt idx="76">
                  <c:v>2.4035246717623191E-3</c:v>
                </c:pt>
                <c:pt idx="77">
                  <c:v>2.3710838091227054E-3</c:v>
                </c:pt>
                <c:pt idx="78">
                  <c:v>1.8739180976090606E-3</c:v>
                </c:pt>
                <c:pt idx="79">
                  <c:v>1.8617682682404257E-3</c:v>
                </c:pt>
                <c:pt idx="80">
                  <c:v>1.1664687035808532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878686358899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3.7618754835540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3.81069027974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7.2464873786615897E-2</c:v>
                </c:pt>
                <c:pt idx="1">
                  <c:v>6.2864524751470127E-2</c:v>
                </c:pt>
                <c:pt idx="2">
                  <c:v>5.6651745764502319E-2</c:v>
                </c:pt>
                <c:pt idx="3">
                  <c:v>5.3960639946643296E-2</c:v>
                </c:pt>
                <c:pt idx="4">
                  <c:v>4.3330265131957361E-2</c:v>
                </c:pt>
                <c:pt idx="5">
                  <c:v>3.7563363283689512E-2</c:v>
                </c:pt>
                <c:pt idx="6">
                  <c:v>3.256788826845107E-2</c:v>
                </c:pt>
                <c:pt idx="7">
                  <c:v>3.030842985096183E-2</c:v>
                </c:pt>
                <c:pt idx="8">
                  <c:v>3.0076628644069112E-2</c:v>
                </c:pt>
                <c:pt idx="9">
                  <c:v>2.8054914970136118E-2</c:v>
                </c:pt>
                <c:pt idx="10">
                  <c:v>2.6830595823597501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lang="en-US"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Nuvel Suncare Mineral FPS50 120ml</c:v>
                </c:pt>
                <c:pt idx="16">
                  <c:v>Hawaiian Tropic Sheer Touch Lotion FPS30 24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Ozono Lotion FPS50+ 300ml</c:v>
                </c:pt>
                <c:pt idx="29">
                  <c:v>Hawaiian Tropic Sheer Touch Lotion FPS50 120ml</c:v>
                </c:pt>
                <c:pt idx="30">
                  <c:v>Banana Boat Dry Balance Sport Spray FPS50 170ml</c:v>
                </c:pt>
                <c:pt idx="31">
                  <c:v>La Roche Posay Anthelios XL Gel-Cream FPS50+ 5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Equate Sport Lotion FPS30 237ml</c:v>
                </c:pt>
                <c:pt idx="39">
                  <c:v>Garnier Super UV Serum FPS50+ 40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Island Sport Spray FPS50 220ml</c:v>
                </c:pt>
                <c:pt idx="59">
                  <c:v>Hawaiian Tropic Argan Spray FPS15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6.5049868007457531E-2</c:v>
                </c:pt>
                <c:pt idx="1">
                  <c:v>3.961996259201666E-2</c:v>
                </c:pt>
                <c:pt idx="2">
                  <c:v>3.7842904357093123E-2</c:v>
                </c:pt>
                <c:pt idx="3">
                  <c:v>3.5836699035411652E-2</c:v>
                </c:pt>
                <c:pt idx="4">
                  <c:v>3.3260106840902318E-2</c:v>
                </c:pt>
                <c:pt idx="5">
                  <c:v>3.0779396468665406E-2</c:v>
                </c:pt>
                <c:pt idx="6">
                  <c:v>3.0060039058429005E-2</c:v>
                </c:pt>
                <c:pt idx="7">
                  <c:v>2.8638691363427775E-2</c:v>
                </c:pt>
                <c:pt idx="8">
                  <c:v>2.7279189340018627E-2</c:v>
                </c:pt>
                <c:pt idx="9">
                  <c:v>2.619846603135648E-2</c:v>
                </c:pt>
                <c:pt idx="10">
                  <c:v>2.4865441921997498E-2</c:v>
                </c:pt>
                <c:pt idx="11">
                  <c:v>2.2813842424133115E-2</c:v>
                </c:pt>
                <c:pt idx="12">
                  <c:v>2.2617616030475341E-2</c:v>
                </c:pt>
                <c:pt idx="13">
                  <c:v>2.0757993908494109E-2</c:v>
                </c:pt>
                <c:pt idx="14">
                  <c:v>1.9375057623742323E-2</c:v>
                </c:pt>
                <c:pt idx="15">
                  <c:v>1.8925398379780758E-2</c:v>
                </c:pt>
                <c:pt idx="16">
                  <c:v>1.870428021757628E-2</c:v>
                </c:pt>
                <c:pt idx="17">
                  <c:v>1.8108280186871877E-2</c:v>
                </c:pt>
                <c:pt idx="18">
                  <c:v>1.7972964574603203E-2</c:v>
                </c:pt>
                <c:pt idx="19">
                  <c:v>1.6373436979747153E-2</c:v>
                </c:pt>
                <c:pt idx="20">
                  <c:v>1.6197939180154233E-2</c:v>
                </c:pt>
                <c:pt idx="21">
                  <c:v>1.5570914985282477E-2</c:v>
                </c:pt>
                <c:pt idx="22">
                  <c:v>1.3627176277370388E-2</c:v>
                </c:pt>
                <c:pt idx="23">
                  <c:v>1.3448749917960972E-2</c:v>
                </c:pt>
                <c:pt idx="24">
                  <c:v>1.2915456492938279E-2</c:v>
                </c:pt>
                <c:pt idx="25">
                  <c:v>1.2705421925853635E-2</c:v>
                </c:pt>
                <c:pt idx="26">
                  <c:v>1.2552272763528674E-2</c:v>
                </c:pt>
                <c:pt idx="27">
                  <c:v>1.2480286876338689E-2</c:v>
                </c:pt>
                <c:pt idx="28">
                  <c:v>1.2349403246119982E-2</c:v>
                </c:pt>
                <c:pt idx="29">
                  <c:v>1.2003913379526696E-2</c:v>
                </c:pt>
                <c:pt idx="30">
                  <c:v>1.1236734805849387E-2</c:v>
                </c:pt>
                <c:pt idx="31">
                  <c:v>1.1215261503563547E-2</c:v>
                </c:pt>
                <c:pt idx="32">
                  <c:v>1.0793918868254268E-2</c:v>
                </c:pt>
                <c:pt idx="33">
                  <c:v>1.04827795427714E-2</c:v>
                </c:pt>
                <c:pt idx="34">
                  <c:v>1.0112017020721785E-2</c:v>
                </c:pt>
                <c:pt idx="35">
                  <c:v>1.008258641637089E-2</c:v>
                </c:pt>
                <c:pt idx="36">
                  <c:v>9.8628466583700405E-3</c:v>
                </c:pt>
                <c:pt idx="37">
                  <c:v>9.7055753835274157E-3</c:v>
                </c:pt>
                <c:pt idx="38">
                  <c:v>9.150624776716413E-3</c:v>
                </c:pt>
                <c:pt idx="39">
                  <c:v>9.139785170923849E-3</c:v>
                </c:pt>
                <c:pt idx="40">
                  <c:v>8.7255860008912962E-3</c:v>
                </c:pt>
                <c:pt idx="41">
                  <c:v>8.6789930271476516E-3</c:v>
                </c:pt>
                <c:pt idx="42">
                  <c:v>8.3459122267799338E-3</c:v>
                </c:pt>
                <c:pt idx="43">
                  <c:v>8.2721205698441051E-3</c:v>
                </c:pt>
                <c:pt idx="44">
                  <c:v>7.9796845133448535E-3</c:v>
                </c:pt>
                <c:pt idx="45">
                  <c:v>7.8990952475835111E-3</c:v>
                </c:pt>
                <c:pt idx="46">
                  <c:v>7.7074679749611257E-3</c:v>
                </c:pt>
                <c:pt idx="47">
                  <c:v>7.4254424109707453E-3</c:v>
                </c:pt>
                <c:pt idx="48">
                  <c:v>7.1573498239508246E-3</c:v>
                </c:pt>
                <c:pt idx="49">
                  <c:v>6.88000477789569E-3</c:v>
                </c:pt>
                <c:pt idx="50">
                  <c:v>6.7546813028417458E-3</c:v>
                </c:pt>
                <c:pt idx="51">
                  <c:v>6.6146650734413351E-3</c:v>
                </c:pt>
                <c:pt idx="52">
                  <c:v>6.5400785334393981E-3</c:v>
                </c:pt>
                <c:pt idx="53">
                  <c:v>6.2619757743807257E-3</c:v>
                </c:pt>
                <c:pt idx="54">
                  <c:v>6.1857067259287954E-3</c:v>
                </c:pt>
                <c:pt idx="55">
                  <c:v>5.9154696931045248E-3</c:v>
                </c:pt>
                <c:pt idx="56">
                  <c:v>5.8162256821367164E-3</c:v>
                </c:pt>
                <c:pt idx="57">
                  <c:v>5.2147661086204356E-3</c:v>
                </c:pt>
                <c:pt idx="58">
                  <c:v>4.8978095700583967E-3</c:v>
                </c:pt>
                <c:pt idx="59">
                  <c:v>4.8843779724742405E-3</c:v>
                </c:pt>
                <c:pt idx="60">
                  <c:v>4.7103939890097927E-3</c:v>
                </c:pt>
                <c:pt idx="61">
                  <c:v>4.6672117458533219E-3</c:v>
                </c:pt>
                <c:pt idx="62">
                  <c:v>4.5956773358283099E-3</c:v>
                </c:pt>
                <c:pt idx="63">
                  <c:v>4.5299394785974535E-3</c:v>
                </c:pt>
                <c:pt idx="64">
                  <c:v>4.3815971308133776E-3</c:v>
                </c:pt>
                <c:pt idx="65">
                  <c:v>4.3282265289770385E-3</c:v>
                </c:pt>
                <c:pt idx="66">
                  <c:v>4.2029092631270101E-3</c:v>
                </c:pt>
                <c:pt idx="67">
                  <c:v>3.9803216648056378E-3</c:v>
                </c:pt>
                <c:pt idx="68">
                  <c:v>3.7964444290025422E-3</c:v>
                </c:pt>
                <c:pt idx="69">
                  <c:v>3.7944912892125902E-3</c:v>
                </c:pt>
                <c:pt idx="70">
                  <c:v>3.5012318122160839E-3</c:v>
                </c:pt>
                <c:pt idx="71">
                  <c:v>3.4220702039878918E-3</c:v>
                </c:pt>
                <c:pt idx="72">
                  <c:v>3.2404634709819213E-3</c:v>
                </c:pt>
                <c:pt idx="73">
                  <c:v>2.8936627987079752E-3</c:v>
                </c:pt>
                <c:pt idx="74">
                  <c:v>2.7749037952002815E-3</c:v>
                </c:pt>
                <c:pt idx="75">
                  <c:v>2.6180119151451675E-3</c:v>
                </c:pt>
                <c:pt idx="76">
                  <c:v>2.4092916862477761E-3</c:v>
                </c:pt>
                <c:pt idx="77">
                  <c:v>2.405481087751655E-3</c:v>
                </c:pt>
                <c:pt idx="78">
                  <c:v>1.858890692672296E-3</c:v>
                </c:pt>
                <c:pt idx="79">
                  <c:v>1.856670696791319E-3</c:v>
                </c:pt>
                <c:pt idx="80">
                  <c:v>1.1613954409314228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11.40131334405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15.118674893578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12.709245375373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15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chemeClr val="accent1"/>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fld id="{92A83A12-2F75-4BD7-8C4A-FCF7034F212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A0D8-4FF8-BF2D-A6DC7B178F5A}"/>
                </c:ext>
              </c:extLst>
            </c:dLbl>
            <c:dLbl>
              <c:idx val="1"/>
              <c:tx>
                <c:rich>
                  <a:bodyPr/>
                  <a:lstStyle/>
                  <a:p>
                    <a:fld id="{2D2BD001-2766-42B5-B8EC-45334A45CBC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0D8-4FF8-BF2D-A6DC7B178F5A}"/>
                </c:ext>
              </c:extLst>
            </c:dLbl>
            <c:dLbl>
              <c:idx val="2"/>
              <c:tx>
                <c:rich>
                  <a:bodyPr/>
                  <a:lstStyle/>
                  <a:p>
                    <a:fld id="{DD3944ED-230F-43B0-A9CD-AA60ECE84A4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A0D8-4FF8-BF2D-A6DC7B178F5A}"/>
                </c:ext>
              </c:extLst>
            </c:dLbl>
            <c:dLbl>
              <c:idx val="3"/>
              <c:tx>
                <c:rich>
                  <a:bodyPr/>
                  <a:lstStyle/>
                  <a:p>
                    <a:fld id="{E288EA0B-C81E-49CC-9589-EF113976054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A0D8-4FF8-BF2D-A6DC7B178F5A}"/>
                </c:ext>
              </c:extLst>
            </c:dLbl>
            <c:dLbl>
              <c:idx val="4"/>
              <c:tx>
                <c:rich>
                  <a:bodyPr/>
                  <a:lstStyle/>
                  <a:p>
                    <a:fld id="{78F4E11F-A1C9-4C82-9961-E3B1094F2C8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A0D8-4FF8-BF2D-A6DC7B178F5A}"/>
                </c:ext>
              </c:extLst>
            </c:dLbl>
            <c:dLbl>
              <c:idx val="5"/>
              <c:tx>
                <c:rich>
                  <a:bodyPr/>
                  <a:lstStyle/>
                  <a:p>
                    <a:fld id="{B71E9BB8-49D9-4F0C-BE21-5681EFCAE7B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0D8-4FF8-BF2D-A6DC7B178F5A}"/>
                </c:ext>
              </c:extLst>
            </c:dLbl>
            <c:dLbl>
              <c:idx val="6"/>
              <c:tx>
                <c:rich>
                  <a:bodyPr/>
                  <a:lstStyle/>
                  <a:p>
                    <a:fld id="{3D4AA74B-CE9D-4A81-8A68-56DA418C23D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0D8-4FF8-BF2D-A6DC7B178F5A}"/>
                </c:ext>
              </c:extLst>
            </c:dLbl>
            <c:dLbl>
              <c:idx val="7"/>
              <c:tx>
                <c:rich>
                  <a:bodyPr/>
                  <a:lstStyle/>
                  <a:p>
                    <a:fld id="{D1ECB807-79FB-4026-B63B-F010194DF65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A0D8-4FF8-BF2D-A6DC7B178F5A}"/>
                </c:ext>
              </c:extLst>
            </c:dLbl>
            <c:dLbl>
              <c:idx val="8"/>
              <c:tx>
                <c:rich>
                  <a:bodyPr/>
                  <a:lstStyle/>
                  <a:p>
                    <a:fld id="{B8572093-1AA4-4533-800A-80650A5BCEB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A0D8-4FF8-BF2D-A6DC7B178F5A}"/>
                </c:ext>
              </c:extLst>
            </c:dLbl>
            <c:dLbl>
              <c:idx val="9"/>
              <c:tx>
                <c:rich>
                  <a:bodyPr/>
                  <a:lstStyle/>
                  <a:p>
                    <a:fld id="{9F5448EC-7D8F-49E9-95D5-C8CD2C3DD67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A0D8-4FF8-BF2D-A6DC7B178F5A}"/>
                </c:ext>
              </c:extLst>
            </c:dLbl>
            <c:dLbl>
              <c:idx val="10"/>
              <c:tx>
                <c:rich>
                  <a:bodyPr/>
                  <a:lstStyle/>
                  <a:p>
                    <a:fld id="{14F7A2EF-F01D-423B-897A-440272E70AD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0D8-4FF8-BF2D-A6DC7B178F5A}"/>
                </c:ext>
              </c:extLst>
            </c:dLbl>
            <c:dLbl>
              <c:idx val="11"/>
              <c:tx>
                <c:rich>
                  <a:bodyPr/>
                  <a:lstStyle/>
                  <a:p>
                    <a:fld id="{0082A800-BBDB-406A-885C-899556C1815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0D8-4FF8-BF2D-A6DC7B178F5A}"/>
                </c:ext>
              </c:extLst>
            </c:dLbl>
            <c:dLbl>
              <c:idx val="12"/>
              <c:tx>
                <c:rich>
                  <a:bodyPr/>
                  <a:lstStyle/>
                  <a:p>
                    <a:fld id="{02B03136-2B32-49BF-84DC-107414678E7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0D8-4FF8-BF2D-A6DC7B178F5A}"/>
                </c:ext>
              </c:extLst>
            </c:dLbl>
            <c:dLbl>
              <c:idx val="13"/>
              <c:tx>
                <c:rich>
                  <a:bodyPr/>
                  <a:lstStyle/>
                  <a:p>
                    <a:fld id="{E462B6B8-A13E-4F6B-8725-39F6799AFA8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A0D8-4FF8-BF2D-A6DC7B178F5A}"/>
                </c:ext>
              </c:extLst>
            </c:dLbl>
            <c:dLbl>
              <c:idx val="14"/>
              <c:tx>
                <c:rich>
                  <a:bodyPr/>
                  <a:lstStyle/>
                  <a:p>
                    <a:fld id="{C809A38F-2585-4A9E-B444-16C04AC392B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A0D8-4FF8-BF2D-A6DC7B178F5A}"/>
                </c:ext>
              </c:extLst>
            </c:dLbl>
            <c:dLbl>
              <c:idx val="15"/>
              <c:tx>
                <c:rich>
                  <a:bodyPr/>
                  <a:lstStyle/>
                  <a:p>
                    <a:fld id="{86F21F64-EE94-4B6E-AF6B-376D2C301C6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A0D8-4FF8-BF2D-A6DC7B178F5A}"/>
                </c:ext>
              </c:extLst>
            </c:dLbl>
            <c:dLbl>
              <c:idx val="16"/>
              <c:tx>
                <c:rich>
                  <a:bodyPr/>
                  <a:lstStyle/>
                  <a:p>
                    <a:fld id="{A6F17B59-BA6B-4B43-8AEC-58B96574858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A0D8-4FF8-BF2D-A6DC7B178F5A}"/>
                </c:ext>
              </c:extLst>
            </c:dLbl>
            <c:dLbl>
              <c:idx val="17"/>
              <c:tx>
                <c:rich>
                  <a:bodyPr/>
                  <a:lstStyle/>
                  <a:p>
                    <a:fld id="{67535D44-F3B2-4844-9957-D6AC9A6471C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A0D8-4FF8-BF2D-A6DC7B178F5A}"/>
                </c:ext>
              </c:extLst>
            </c:dLbl>
            <c:dLbl>
              <c:idx val="18"/>
              <c:tx>
                <c:rich>
                  <a:bodyPr/>
                  <a:lstStyle/>
                  <a:p>
                    <a:fld id="{E2D99EBB-C62A-4FC2-B493-A80284BA3A4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A0D8-4FF8-BF2D-A6DC7B178F5A}"/>
                </c:ext>
              </c:extLst>
            </c:dLbl>
            <c:dLbl>
              <c:idx val="19"/>
              <c:tx>
                <c:rich>
                  <a:bodyPr/>
                  <a:lstStyle/>
                  <a:p>
                    <a:fld id="{02185959-574B-4BD6-BDEB-41315527318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A0D8-4FF8-BF2D-A6DC7B178F5A}"/>
                </c:ext>
              </c:extLst>
            </c:dLbl>
            <c:dLbl>
              <c:idx val="20"/>
              <c:tx>
                <c:rich>
                  <a:bodyPr/>
                  <a:lstStyle/>
                  <a:p>
                    <a:fld id="{8EA4178A-8E44-4A1A-BF93-1735B40DBA5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A0D8-4FF8-BF2D-A6DC7B178F5A}"/>
                </c:ext>
              </c:extLst>
            </c:dLbl>
            <c:dLbl>
              <c:idx val="21"/>
              <c:tx>
                <c:rich>
                  <a:bodyPr/>
                  <a:lstStyle/>
                  <a:p>
                    <a:fld id="{B6978B34-D1FE-4990-B9E1-EBAF81E8A08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A0D8-4FF8-BF2D-A6DC7B178F5A}"/>
                </c:ext>
              </c:extLst>
            </c:dLbl>
            <c:dLbl>
              <c:idx val="22"/>
              <c:tx>
                <c:rich>
                  <a:bodyPr/>
                  <a:lstStyle/>
                  <a:p>
                    <a:fld id="{3DD0C654-37D8-42B1-8679-E299A2616D9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A0D8-4FF8-BF2D-A6DC7B178F5A}"/>
                </c:ext>
              </c:extLst>
            </c:dLbl>
            <c:dLbl>
              <c:idx val="23"/>
              <c:tx>
                <c:rich>
                  <a:bodyPr/>
                  <a:lstStyle/>
                  <a:p>
                    <a:fld id="{02D133C0-34FD-4EE4-903A-D210845BC8A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A0D8-4FF8-BF2D-A6DC7B178F5A}"/>
                </c:ext>
              </c:extLst>
            </c:dLbl>
            <c:dLbl>
              <c:idx val="24"/>
              <c:tx>
                <c:rich>
                  <a:bodyPr/>
                  <a:lstStyle/>
                  <a:p>
                    <a:fld id="{67492924-468C-4026-8600-4AF3EB885D6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A0D8-4FF8-BF2D-A6DC7B178F5A}"/>
                </c:ext>
              </c:extLst>
            </c:dLbl>
            <c:dLbl>
              <c:idx val="25"/>
              <c:tx>
                <c:rich>
                  <a:bodyPr/>
                  <a:lstStyle/>
                  <a:p>
                    <a:fld id="{2CDB1BAA-4DA4-4A40-AABE-A0E8DAE9049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A0D8-4FF8-BF2D-A6DC7B178F5A}"/>
                </c:ext>
              </c:extLst>
            </c:dLbl>
            <c:dLbl>
              <c:idx val="26"/>
              <c:tx>
                <c:rich>
                  <a:bodyPr/>
                  <a:lstStyle/>
                  <a:p>
                    <a:fld id="{8BA0984F-E07C-4C74-9001-2E26D6A06D47}"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A0D8-4FF8-BF2D-A6DC7B178F5A}"/>
                </c:ext>
              </c:extLst>
            </c:dLbl>
            <c:dLbl>
              <c:idx val="27"/>
              <c:tx>
                <c:rich>
                  <a:bodyPr/>
                  <a:lstStyle/>
                  <a:p>
                    <a:fld id="{C259CBFC-E59B-450A-A9B5-9CD5250C19C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A0D8-4FF8-BF2D-A6DC7B178F5A}"/>
                </c:ext>
              </c:extLst>
            </c:dLbl>
            <c:dLbl>
              <c:idx val="28"/>
              <c:tx>
                <c:rich>
                  <a:bodyPr/>
                  <a:lstStyle/>
                  <a:p>
                    <a:fld id="{8D3C137C-C632-42E1-ADE9-CC019D5C757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A0D8-4FF8-BF2D-A6DC7B178F5A}"/>
                </c:ext>
              </c:extLst>
            </c:dLbl>
            <c:dLbl>
              <c:idx val="29"/>
              <c:tx>
                <c:rich>
                  <a:bodyPr/>
                  <a:lstStyle/>
                  <a:p>
                    <a:fld id="{117F5346-3824-4E23-AEBF-F0D1BFC6A3A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A0D8-4FF8-BF2D-A6DC7B178F5A}"/>
                </c:ext>
              </c:extLst>
            </c:dLbl>
            <c:dLbl>
              <c:idx val="30"/>
              <c:tx>
                <c:rich>
                  <a:bodyPr/>
                  <a:lstStyle/>
                  <a:p>
                    <a:fld id="{09723735-1E19-4C3F-AA17-375A749B1A3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A0D8-4FF8-BF2D-A6DC7B178F5A}"/>
                </c:ext>
              </c:extLst>
            </c:dLbl>
            <c:dLbl>
              <c:idx val="31"/>
              <c:tx>
                <c:rich>
                  <a:bodyPr/>
                  <a:lstStyle/>
                  <a:p>
                    <a:fld id="{B284C4E0-1594-4C87-B682-A1C66F9DEEA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A0D8-4FF8-BF2D-A6DC7B178F5A}"/>
                </c:ext>
              </c:extLst>
            </c:dLbl>
            <c:dLbl>
              <c:idx val="32"/>
              <c:tx>
                <c:rich>
                  <a:bodyPr/>
                  <a:lstStyle/>
                  <a:p>
                    <a:fld id="{CD1D4C06-B8FD-4DBC-ADAE-849B3D03C13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A0D8-4FF8-BF2D-A6DC7B178F5A}"/>
                </c:ext>
              </c:extLst>
            </c:dLbl>
            <c:dLbl>
              <c:idx val="33"/>
              <c:tx>
                <c:rich>
                  <a:bodyPr/>
                  <a:lstStyle/>
                  <a:p>
                    <a:fld id="{A1D66BC8-1060-4E0B-BE41-69377AC918B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A0D8-4FF8-BF2D-A6DC7B178F5A}"/>
                </c:ext>
              </c:extLst>
            </c:dLbl>
            <c:dLbl>
              <c:idx val="34"/>
              <c:tx>
                <c:rich>
                  <a:bodyPr/>
                  <a:lstStyle/>
                  <a:p>
                    <a:fld id="{AA21969E-60DD-405E-AF2E-53CAB4AC6B7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A0D8-4FF8-BF2D-A6DC7B178F5A}"/>
                </c:ext>
              </c:extLst>
            </c:dLbl>
            <c:dLbl>
              <c:idx val="35"/>
              <c:tx>
                <c:rich>
                  <a:bodyPr/>
                  <a:lstStyle/>
                  <a:p>
                    <a:fld id="{C2230420-6C6C-425F-B3B2-173A0741E19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A0D8-4FF8-BF2D-A6DC7B178F5A}"/>
                </c:ext>
              </c:extLst>
            </c:dLbl>
            <c:dLbl>
              <c:idx val="36"/>
              <c:tx>
                <c:rich>
                  <a:bodyPr/>
                  <a:lstStyle/>
                  <a:p>
                    <a:fld id="{0A1AD40D-E6F3-45C0-9BF8-A285C75916C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A0D8-4FF8-BF2D-A6DC7B178F5A}"/>
                </c:ext>
              </c:extLst>
            </c:dLbl>
            <c:dLbl>
              <c:idx val="37"/>
              <c:tx>
                <c:rich>
                  <a:bodyPr/>
                  <a:lstStyle/>
                  <a:p>
                    <a:fld id="{3F788751-FE86-4CEC-AE31-D079D72993D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A0D8-4FF8-BF2D-A6DC7B178F5A}"/>
                </c:ext>
              </c:extLst>
            </c:dLbl>
            <c:dLbl>
              <c:idx val="38"/>
              <c:tx>
                <c:rich>
                  <a:bodyPr/>
                  <a:lstStyle/>
                  <a:p>
                    <a:fld id="{BA7CC080-EB68-4B6C-9D81-CE96D03EA79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A0D8-4FF8-BF2D-A6DC7B178F5A}"/>
                </c:ext>
              </c:extLst>
            </c:dLbl>
            <c:dLbl>
              <c:idx val="39"/>
              <c:tx>
                <c:rich>
                  <a:bodyPr/>
                  <a:lstStyle/>
                  <a:p>
                    <a:fld id="{DCF275A7-411C-47F1-81FB-C8C3100CA56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A0D8-4FF8-BF2D-A6DC7B178F5A}"/>
                </c:ext>
              </c:extLst>
            </c:dLbl>
            <c:dLbl>
              <c:idx val="40"/>
              <c:tx>
                <c:rich>
                  <a:bodyPr/>
                  <a:lstStyle/>
                  <a:p>
                    <a:fld id="{02F2B328-4D9B-449C-804A-740CBB877CC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A0D8-4FF8-BF2D-A6DC7B178F5A}"/>
                </c:ext>
              </c:extLst>
            </c:dLbl>
            <c:dLbl>
              <c:idx val="41"/>
              <c:tx>
                <c:rich>
                  <a:bodyPr/>
                  <a:lstStyle/>
                  <a:p>
                    <a:fld id="{0FEE027B-DF9B-4764-ADCB-E82FAE8A8CC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A0D8-4FF8-BF2D-A6DC7B178F5A}"/>
                </c:ext>
              </c:extLst>
            </c:dLbl>
            <c:dLbl>
              <c:idx val="42"/>
              <c:tx>
                <c:rich>
                  <a:bodyPr/>
                  <a:lstStyle/>
                  <a:p>
                    <a:fld id="{06A74F91-0AA2-4FDD-92E9-6FF27C14890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0D8-4FF8-BF2D-A6DC7B178F5A}"/>
                </c:ext>
              </c:extLst>
            </c:dLbl>
            <c:dLbl>
              <c:idx val="43"/>
              <c:tx>
                <c:rich>
                  <a:bodyPr/>
                  <a:lstStyle/>
                  <a:p>
                    <a:fld id="{436F17D2-2E3A-4BB7-ABE2-DC0178C8E46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A0D8-4FF8-BF2D-A6DC7B178F5A}"/>
                </c:ext>
              </c:extLst>
            </c:dLbl>
            <c:dLbl>
              <c:idx val="44"/>
              <c:tx>
                <c:rich>
                  <a:bodyPr/>
                  <a:lstStyle/>
                  <a:p>
                    <a:fld id="{D5C91075-CA06-48BD-86F0-082DA8EF9C9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A0D8-4FF8-BF2D-A6DC7B178F5A}"/>
                </c:ext>
              </c:extLst>
            </c:dLbl>
            <c:dLbl>
              <c:idx val="45"/>
              <c:tx>
                <c:rich>
                  <a:bodyPr/>
                  <a:lstStyle/>
                  <a:p>
                    <a:fld id="{000780E2-CAAF-4D31-B293-13C0D9B995E4}"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A0D8-4FF8-BF2D-A6DC7B178F5A}"/>
                </c:ext>
              </c:extLst>
            </c:dLbl>
            <c:dLbl>
              <c:idx val="46"/>
              <c:tx>
                <c:rich>
                  <a:bodyPr/>
                  <a:lstStyle/>
                  <a:p>
                    <a:fld id="{3AE927F7-6F62-4FA9-9638-BA3ABAEFCF2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A0D8-4FF8-BF2D-A6DC7B178F5A}"/>
                </c:ext>
              </c:extLst>
            </c:dLbl>
            <c:dLbl>
              <c:idx val="47"/>
              <c:tx>
                <c:rich>
                  <a:bodyPr/>
                  <a:lstStyle/>
                  <a:p>
                    <a:fld id="{EC475FDC-4BBE-4889-BF9B-16FEC10B98F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A0D8-4FF8-BF2D-A6DC7B178F5A}"/>
                </c:ext>
              </c:extLst>
            </c:dLbl>
            <c:dLbl>
              <c:idx val="48"/>
              <c:tx>
                <c:rich>
                  <a:bodyPr/>
                  <a:lstStyle/>
                  <a:p>
                    <a:fld id="{68327CCB-0E07-400E-AA08-23DC40A9D15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A0D8-4FF8-BF2D-A6DC7B178F5A}"/>
                </c:ext>
              </c:extLst>
            </c:dLbl>
            <c:dLbl>
              <c:idx val="49"/>
              <c:tx>
                <c:rich>
                  <a:bodyPr/>
                  <a:lstStyle/>
                  <a:p>
                    <a:fld id="{8C8DEBF8-91CA-4D86-8B8D-024959BEBFD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A0D8-4FF8-BF2D-A6DC7B178F5A}"/>
                </c:ext>
              </c:extLst>
            </c:dLbl>
            <c:dLbl>
              <c:idx val="50"/>
              <c:tx>
                <c:rich>
                  <a:bodyPr/>
                  <a:lstStyle/>
                  <a:p>
                    <a:fld id="{84EFA35C-3EE3-44ED-ADD8-B45AFAB625F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A0D8-4FF8-BF2D-A6DC7B178F5A}"/>
                </c:ext>
              </c:extLst>
            </c:dLbl>
            <c:dLbl>
              <c:idx val="51"/>
              <c:tx>
                <c:rich>
                  <a:bodyPr/>
                  <a:lstStyle/>
                  <a:p>
                    <a:fld id="{0E12E4CF-224B-4BC8-A8CF-D5726F92D70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A0D8-4FF8-BF2D-A6DC7B178F5A}"/>
                </c:ext>
              </c:extLst>
            </c:dLbl>
            <c:dLbl>
              <c:idx val="52"/>
              <c:tx>
                <c:rich>
                  <a:bodyPr/>
                  <a:lstStyle/>
                  <a:p>
                    <a:fld id="{39EE8CF0-E155-44C4-B63D-47AE72BFF60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A0D8-4FF8-BF2D-A6DC7B178F5A}"/>
                </c:ext>
              </c:extLst>
            </c:dLbl>
            <c:dLbl>
              <c:idx val="53"/>
              <c:tx>
                <c:rich>
                  <a:bodyPr/>
                  <a:lstStyle/>
                  <a:p>
                    <a:fld id="{6B88957B-AC57-4442-B87C-C356E841487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6B-B572-4DF2-A18B-EB5D630E70B4}"/>
                </c:ext>
              </c:extLst>
            </c:dLbl>
            <c:dLbl>
              <c:idx val="54"/>
              <c:tx>
                <c:rich>
                  <a:bodyPr/>
                  <a:lstStyle/>
                  <a:p>
                    <a:fld id="{9E7808EC-2EF7-43BC-ABEB-4F83F9F0575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6D-B572-4DF2-A18B-EB5D630E70B4}"/>
                </c:ext>
              </c:extLst>
            </c:dLbl>
            <c:dLbl>
              <c:idx val="55"/>
              <c:tx>
                <c:rich>
                  <a:bodyPr/>
                  <a:lstStyle/>
                  <a:p>
                    <a:fld id="{20FA3F52-DCB6-4513-8D04-B4915D96722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6F-B572-4DF2-A18B-EB5D630E70B4}"/>
                </c:ext>
              </c:extLst>
            </c:dLbl>
            <c:dLbl>
              <c:idx val="56"/>
              <c:tx>
                <c:rich>
                  <a:bodyPr/>
                  <a:lstStyle/>
                  <a:p>
                    <a:fld id="{1C1E0139-F2BF-4EF7-8188-70E28A7FCB3F}"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1-B572-4DF2-A18B-EB5D630E70B4}"/>
                </c:ext>
              </c:extLst>
            </c:dLbl>
            <c:dLbl>
              <c:idx val="57"/>
              <c:tx>
                <c:rich>
                  <a:bodyPr/>
                  <a:lstStyle/>
                  <a:p>
                    <a:fld id="{CE57E306-D08B-4690-89C0-E9D41237E118}"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3-B572-4DF2-A18B-EB5D630E70B4}"/>
                </c:ext>
              </c:extLst>
            </c:dLbl>
            <c:dLbl>
              <c:idx val="58"/>
              <c:tx>
                <c:rich>
                  <a:bodyPr/>
                  <a:lstStyle/>
                  <a:p>
                    <a:fld id="{B5A18832-85B2-43FA-8B0C-F2D926C4270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5-B572-4DF2-A18B-EB5D630E70B4}"/>
                </c:ext>
              </c:extLst>
            </c:dLbl>
            <c:dLbl>
              <c:idx val="59"/>
              <c:tx>
                <c:rich>
                  <a:bodyPr/>
                  <a:lstStyle/>
                  <a:p>
                    <a:fld id="{9E44E7CD-5541-43B8-8C88-F5932A6F92B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7-B572-4DF2-A18B-EB5D630E70B4}"/>
                </c:ext>
              </c:extLst>
            </c:dLbl>
            <c:dLbl>
              <c:idx val="60"/>
              <c:tx>
                <c:rich>
                  <a:bodyPr/>
                  <a:lstStyle/>
                  <a:p>
                    <a:fld id="{E1351C47-CAB2-4C44-B2B2-D9960C12255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9-B572-4DF2-A18B-EB5D630E70B4}"/>
                </c:ext>
              </c:extLst>
            </c:dLbl>
            <c:dLbl>
              <c:idx val="61"/>
              <c:tx>
                <c:rich>
                  <a:bodyPr/>
                  <a:lstStyle/>
                  <a:p>
                    <a:fld id="{917ED69F-B820-442A-BCAE-A7C6422BB13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B-B572-4DF2-A18B-EB5D630E70B4}"/>
                </c:ext>
              </c:extLst>
            </c:dLbl>
            <c:dLbl>
              <c:idx val="62"/>
              <c:tx>
                <c:rich>
                  <a:bodyPr/>
                  <a:lstStyle/>
                  <a:p>
                    <a:fld id="{3295B124-AC82-41A9-B34C-599062D5535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D-B572-4DF2-A18B-EB5D630E70B4}"/>
                </c:ext>
              </c:extLst>
            </c:dLbl>
            <c:dLbl>
              <c:idx val="63"/>
              <c:tx>
                <c:rich>
                  <a:bodyPr/>
                  <a:lstStyle/>
                  <a:p>
                    <a:fld id="{5F8CA27B-C327-4D97-B773-9554E0789A6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7F-B572-4DF2-A18B-EB5D630E70B4}"/>
                </c:ext>
              </c:extLst>
            </c:dLbl>
            <c:dLbl>
              <c:idx val="64"/>
              <c:tx>
                <c:rich>
                  <a:bodyPr/>
                  <a:lstStyle/>
                  <a:p>
                    <a:fld id="{8380C2A0-8A5F-4E4B-B2CE-18B2C492AB1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1-B572-4DF2-A18B-EB5D630E70B4}"/>
                </c:ext>
              </c:extLst>
            </c:dLbl>
            <c:dLbl>
              <c:idx val="65"/>
              <c:tx>
                <c:rich>
                  <a:bodyPr/>
                  <a:lstStyle/>
                  <a:p>
                    <a:fld id="{7C52D5D5-30AE-44E4-B50B-5380E5BC5CA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3-B572-4DF2-A18B-EB5D630E70B4}"/>
                </c:ext>
              </c:extLst>
            </c:dLbl>
            <c:dLbl>
              <c:idx val="66"/>
              <c:tx>
                <c:rich>
                  <a:bodyPr/>
                  <a:lstStyle/>
                  <a:p>
                    <a:fld id="{36724817-D8DF-4BFA-B0CA-06A813E54CA3}"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5-B572-4DF2-A18B-EB5D630E70B4}"/>
                </c:ext>
              </c:extLst>
            </c:dLbl>
            <c:dLbl>
              <c:idx val="67"/>
              <c:tx>
                <c:rich>
                  <a:bodyPr/>
                  <a:lstStyle/>
                  <a:p>
                    <a:fld id="{40C588B3-537A-4C58-A134-1E32F77BBD1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7-B572-4DF2-A18B-EB5D630E70B4}"/>
                </c:ext>
              </c:extLst>
            </c:dLbl>
            <c:dLbl>
              <c:idx val="68"/>
              <c:tx>
                <c:rich>
                  <a:bodyPr/>
                  <a:lstStyle/>
                  <a:p>
                    <a:fld id="{2C58975A-3B3E-43EC-89EE-392FB66730B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9-B572-4DF2-A18B-EB5D630E70B4}"/>
                </c:ext>
              </c:extLst>
            </c:dLbl>
            <c:dLbl>
              <c:idx val="69"/>
              <c:tx>
                <c:rich>
                  <a:bodyPr/>
                  <a:lstStyle/>
                  <a:p>
                    <a:fld id="{D55FC1FB-FDB5-4179-A10A-D8996D02EBDB}"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B-B572-4DF2-A18B-EB5D630E70B4}"/>
                </c:ext>
              </c:extLst>
            </c:dLbl>
            <c:dLbl>
              <c:idx val="70"/>
              <c:tx>
                <c:rich>
                  <a:bodyPr/>
                  <a:lstStyle/>
                  <a:p>
                    <a:fld id="{63E7DC3F-4939-4AE6-8484-FE00C2336EDE}"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D-B572-4DF2-A18B-EB5D630E70B4}"/>
                </c:ext>
              </c:extLst>
            </c:dLbl>
            <c:dLbl>
              <c:idx val="71"/>
              <c:tx>
                <c:rich>
                  <a:bodyPr/>
                  <a:lstStyle/>
                  <a:p>
                    <a:fld id="{C3F752BD-FA88-4704-A59D-BAE26FF781C6}"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8F-B572-4DF2-A18B-EB5D630E70B4}"/>
                </c:ext>
              </c:extLst>
            </c:dLbl>
            <c:dLbl>
              <c:idx val="72"/>
              <c:tx>
                <c:rich>
                  <a:bodyPr/>
                  <a:lstStyle/>
                  <a:p>
                    <a:fld id="{323D082F-795E-4FD7-B9F8-3475CCB971C0}"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1-B572-4DF2-A18B-EB5D630E70B4}"/>
                </c:ext>
              </c:extLst>
            </c:dLbl>
            <c:dLbl>
              <c:idx val="73"/>
              <c:tx>
                <c:rich>
                  <a:bodyPr/>
                  <a:lstStyle/>
                  <a:p>
                    <a:fld id="{8EE81834-BE5A-4DB5-9EEE-1A0897B3BA92}"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3-B572-4DF2-A18B-EB5D630E70B4}"/>
                </c:ext>
              </c:extLst>
            </c:dLbl>
            <c:dLbl>
              <c:idx val="74"/>
              <c:tx>
                <c:rich>
                  <a:bodyPr/>
                  <a:lstStyle/>
                  <a:p>
                    <a:fld id="{13497C86-923F-4389-9151-117BDE7BB539}"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5-B572-4DF2-A18B-EB5D630E70B4}"/>
                </c:ext>
              </c:extLst>
            </c:dLbl>
            <c:dLbl>
              <c:idx val="75"/>
              <c:tx>
                <c:rich>
                  <a:bodyPr/>
                  <a:lstStyle/>
                  <a:p>
                    <a:fld id="{A6A5A09C-D6A5-4490-B494-4E9439370E95}"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7-B572-4DF2-A18B-EB5D630E70B4}"/>
                </c:ext>
              </c:extLst>
            </c:dLbl>
            <c:dLbl>
              <c:idx val="76"/>
              <c:tx>
                <c:rich>
                  <a:bodyPr/>
                  <a:lstStyle/>
                  <a:p>
                    <a:fld id="{0027ADF0-6DF5-4F92-B387-56B81B03377D}"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9-B572-4DF2-A18B-EB5D630E70B4}"/>
                </c:ext>
              </c:extLst>
            </c:dLbl>
            <c:dLbl>
              <c:idx val="77"/>
              <c:tx>
                <c:rich>
                  <a:bodyPr/>
                  <a:lstStyle/>
                  <a:p>
                    <a:fld id="{EF4B787C-AAC0-451F-8658-EDDFEFC1947C}"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B-B572-4DF2-A18B-EB5D630E70B4}"/>
                </c:ext>
              </c:extLst>
            </c:dLbl>
            <c:dLbl>
              <c:idx val="78"/>
              <c:tx>
                <c:rich>
                  <a:bodyPr/>
                  <a:lstStyle/>
                  <a:p>
                    <a:fld id="{68854AD9-85A1-4BEA-8F39-32A995309DD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D-B572-4DF2-A18B-EB5D630E70B4}"/>
                </c:ext>
              </c:extLst>
            </c:dLbl>
            <c:dLbl>
              <c:idx val="79"/>
              <c:tx>
                <c:rich>
                  <a:bodyPr/>
                  <a:lstStyle/>
                  <a:p>
                    <a:fld id="{AADCBD0B-AEF7-4782-8DA6-2F6C8B0A961A}"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F-B572-4DF2-A18B-EB5D630E70B4}"/>
                </c:ext>
              </c:extLst>
            </c:dLbl>
            <c:dLbl>
              <c:idx val="80"/>
              <c:tx>
                <c:rich>
                  <a:bodyPr/>
                  <a:lstStyle/>
                  <a:p>
                    <a:fld id="{97047CDE-C256-4A96-926E-8734CAA4F951}" type="CELLRANGE">
                      <a:rPr lang="en-US"/>
                      <a:pPr/>
                      <a:t>[CELLRANGE]</a:t>
                    </a:fld>
                    <a:endParaRPr lang="en-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A1-B572-4DF2-A18B-EB5D630E70B4}"/>
                </c:ext>
              </c:extLst>
            </c:dLbl>
            <c:spPr>
              <a:noFill/>
              <a:ln>
                <a:noFill/>
              </a:ln>
              <a:effectLst/>
            </c:spPr>
            <c:txPr>
              <a:bodyPr rot="-5400000" vert="horz" wrap="square" lIns="38100" tIns="19050" rIns="38100" bIns="19050" anchor="ctr">
                <a:spAutoFit/>
              </a:bodyPr>
              <a:lstStyle/>
              <a:p>
                <a:pPr>
                  <a:defRPr sz="500">
                    <a:solidFill>
                      <a:schemeClr val="accent1"/>
                    </a:solidFill>
                  </a:defRPr>
                </a:pPr>
                <a:endParaRPr lang="en-CH"/>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Hawaiian Tropic Ozono Stick FPS50+ 15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Australian Gold Extreme Sport Spray FPS50 170g</c:v>
                </c:pt>
                <c:pt idx="69">
                  <c:v>Vaseline Daily Use FPS50+ 50ml</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582957692944921E-2</c:v>
                </c:pt>
                <c:pt idx="1">
                  <c:v>3.9897275946043198E-2</c:v>
                </c:pt>
                <c:pt idx="2">
                  <c:v>3.8576766745108522E-2</c:v>
                </c:pt>
                <c:pt idx="3">
                  <c:v>3.6177015556582537E-2</c:v>
                </c:pt>
                <c:pt idx="4">
                  <c:v>3.4119987091601682E-2</c:v>
                </c:pt>
                <c:pt idx="5">
                  <c:v>3.092893110091741E-2</c:v>
                </c:pt>
                <c:pt idx="6">
                  <c:v>3.057535423504593E-2</c:v>
                </c:pt>
                <c:pt idx="7">
                  <c:v>2.879493108974113E-2</c:v>
                </c:pt>
                <c:pt idx="8">
                  <c:v>2.791209071570468E-2</c:v>
                </c:pt>
                <c:pt idx="9">
                  <c:v>2.6265288797885679E-2</c:v>
                </c:pt>
                <c:pt idx="10">
                  <c:v>2.4881012021448431E-2</c:v>
                </c:pt>
                <c:pt idx="11">
                  <c:v>2.3007582015005829E-2</c:v>
                </c:pt>
                <c:pt idx="12">
                  <c:v>2.279566086646248E-2</c:v>
                </c:pt>
                <c:pt idx="13">
                  <c:v>2.1005602148632181E-2</c:v>
                </c:pt>
                <c:pt idx="14">
                  <c:v>1.9508165378117531E-2</c:v>
                </c:pt>
                <c:pt idx="15">
                  <c:v>1.9031533210476861E-2</c:v>
                </c:pt>
                <c:pt idx="16">
                  <c:v>1.8921284522100401E-2</c:v>
                </c:pt>
                <c:pt idx="17">
                  <c:v>1.8264103526869059E-2</c:v>
                </c:pt>
                <c:pt idx="18">
                  <c:v>1.8021842153644919E-2</c:v>
                </c:pt>
                <c:pt idx="19">
                  <c:v>1.6510220500324909E-2</c:v>
                </c:pt>
                <c:pt idx="20">
                  <c:v>1.6205054882175631E-2</c:v>
                </c:pt>
                <c:pt idx="21">
                  <c:v>1.570343817637251E-2</c:v>
                </c:pt>
                <c:pt idx="22">
                  <c:v>1.372468520742243E-2</c:v>
                </c:pt>
                <c:pt idx="23">
                  <c:v>1.3528174001063381E-2</c:v>
                </c:pt>
                <c:pt idx="24">
                  <c:v>1.300773914598481E-2</c:v>
                </c:pt>
                <c:pt idx="25">
                  <c:v>1.273775482123485E-2</c:v>
                </c:pt>
                <c:pt idx="26">
                  <c:v>1.2562180034536611E-2</c:v>
                </c:pt>
                <c:pt idx="27">
                  <c:v>1.250118999541722E-2</c:v>
                </c:pt>
                <c:pt idx="28">
                  <c:v>1.210584794692322E-2</c:v>
                </c:pt>
                <c:pt idx="29">
                  <c:v>1.131740733170097E-2</c:v>
                </c:pt>
                <c:pt idx="30">
                  <c:v>1.128638644484656E-2</c:v>
                </c:pt>
                <c:pt idx="31">
                  <c:v>1.085873693100927E-2</c:v>
                </c:pt>
                <c:pt idx="32">
                  <c:v>1.0508228348999379E-2</c:v>
                </c:pt>
                <c:pt idx="33">
                  <c:v>1.028863964032828E-2</c:v>
                </c:pt>
                <c:pt idx="34">
                  <c:v>1.014867869176117E-2</c:v>
                </c:pt>
                <c:pt idx="35">
                  <c:v>9.9126539448132767E-3</c:v>
                </c:pt>
                <c:pt idx="36">
                  <c:v>9.7679844441635692E-3</c:v>
                </c:pt>
                <c:pt idx="37">
                  <c:v>9.1983702374758454E-3</c:v>
                </c:pt>
                <c:pt idx="38">
                  <c:v>9.1547859945909967E-3</c:v>
                </c:pt>
                <c:pt idx="39">
                  <c:v>8.7844440059441347E-3</c:v>
                </c:pt>
                <c:pt idx="40">
                  <c:v>8.7044638427089833E-3</c:v>
                </c:pt>
                <c:pt idx="41">
                  <c:v>8.4181964544649233E-3</c:v>
                </c:pt>
                <c:pt idx="42">
                  <c:v>8.2840019476932529E-3</c:v>
                </c:pt>
                <c:pt idx="43">
                  <c:v>8.0366028162301237E-3</c:v>
                </c:pt>
                <c:pt idx="44">
                  <c:v>7.8789385550306588E-3</c:v>
                </c:pt>
                <c:pt idx="45">
                  <c:v>7.7097851705406921E-3</c:v>
                </c:pt>
                <c:pt idx="46">
                  <c:v>7.5101827020320486E-3</c:v>
                </c:pt>
                <c:pt idx="47">
                  <c:v>7.1587917252212956E-3</c:v>
                </c:pt>
                <c:pt idx="48">
                  <c:v>6.9171733277182479E-3</c:v>
                </c:pt>
                <c:pt idx="49">
                  <c:v>6.8433165625134398E-3</c:v>
                </c:pt>
                <c:pt idx="50">
                  <c:v>6.6497450798679372E-3</c:v>
                </c:pt>
                <c:pt idx="51">
                  <c:v>6.5478089726958106E-3</c:v>
                </c:pt>
                <c:pt idx="52">
                  <c:v>6.3202901006103812E-3</c:v>
                </c:pt>
                <c:pt idx="53">
                  <c:v>6.1688521825305209E-3</c:v>
                </c:pt>
                <c:pt idx="54">
                  <c:v>5.9207475301097786E-3</c:v>
                </c:pt>
                <c:pt idx="55">
                  <c:v>5.8052458633370274E-3</c:v>
                </c:pt>
                <c:pt idx="56">
                  <c:v>5.2692813494354344E-3</c:v>
                </c:pt>
                <c:pt idx="57">
                  <c:v>4.9396788323828964E-3</c:v>
                </c:pt>
                <c:pt idx="58">
                  <c:v>4.9393091132474923E-3</c:v>
                </c:pt>
                <c:pt idx="59">
                  <c:v>4.7301142381181932E-3</c:v>
                </c:pt>
                <c:pt idx="60">
                  <c:v>4.692903246832086E-3</c:v>
                </c:pt>
                <c:pt idx="61">
                  <c:v>4.6119442646982466E-3</c:v>
                </c:pt>
                <c:pt idx="62">
                  <c:v>4.5558800333052657E-3</c:v>
                </c:pt>
                <c:pt idx="63">
                  <c:v>4.5422487872412336E-3</c:v>
                </c:pt>
                <c:pt idx="64">
                  <c:v>4.3967061629084439E-3</c:v>
                </c:pt>
                <c:pt idx="65">
                  <c:v>4.3665621584924319E-3</c:v>
                </c:pt>
                <c:pt idx="66">
                  <c:v>4.198595298159297E-3</c:v>
                </c:pt>
                <c:pt idx="67">
                  <c:v>4.0066475213490658E-3</c:v>
                </c:pt>
                <c:pt idx="68">
                  <c:v>3.8114435988607768E-3</c:v>
                </c:pt>
                <c:pt idx="69">
                  <c:v>3.7897851773442742E-3</c:v>
                </c:pt>
                <c:pt idx="70">
                  <c:v>3.4984080074082391E-3</c:v>
                </c:pt>
                <c:pt idx="71">
                  <c:v>3.4412758477893428E-3</c:v>
                </c:pt>
                <c:pt idx="72">
                  <c:v>3.2616877666868951E-3</c:v>
                </c:pt>
                <c:pt idx="73">
                  <c:v>2.900471928961321E-3</c:v>
                </c:pt>
                <c:pt idx="74">
                  <c:v>2.7805395057020452E-3</c:v>
                </c:pt>
                <c:pt idx="75">
                  <c:v>2.6263972991571369E-3</c:v>
                </c:pt>
                <c:pt idx="76">
                  <c:v>2.4116394344942419E-3</c:v>
                </c:pt>
                <c:pt idx="77">
                  <c:v>2.401464739934198E-3</c:v>
                </c:pt>
                <c:pt idx="78">
                  <c:v>1.8611145765509E-3</c:v>
                </c:pt>
                <c:pt idx="79">
                  <c:v>1.847658349591588E-3</c:v>
                </c:pt>
                <c:pt idx="80">
                  <c:v>1.1641143866215329E-3</c:v>
                </c:pt>
              </c:numCache>
            </c:numRef>
          </c:val>
          <c:extLst>
            <c:ext xmlns:c15="http://schemas.microsoft.com/office/drawing/2012/chart" uri="{02D57815-91ED-43cb-92C2-25804820EDAC}">
              <c15:datalabelsRange>
                <c15:f>Sheet1!$C$2:$C$82</c15:f>
                <c15:dlblRangeCache>
                  <c:ptCount val="81"/>
                  <c:pt idx="62">
                    <c:v>Hawaiian Tropic Ozono Stick FPS50+ 15g</c:v>
                  </c:pt>
                </c15:dlblRangeCache>
              </c15:datalabelsRange>
            </c:ext>
            <c:ext xmlns:c16="http://schemas.microsoft.com/office/drawing/2014/chart" uri="{C3380CC4-5D6E-409C-BE32-E72D297353CC}">
              <c16:uniqueId val="{0000003F-A0D8-4FF8-BF2D-A6DC7B178F5A}"/>
            </c:ext>
          </c:extLst>
        </c:ser>
        <c:dLbls>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006C6D"/>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r>
                      <a:rPr lang="en-US"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Hawaiian Tropic Ozono Ultra-Light FPS50+ 140ml</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537883383450846E-2</c:v>
                </c:pt>
                <c:pt idx="1">
                  <c:v>3.986460929727273E-2</c:v>
                </c:pt>
                <c:pt idx="2">
                  <c:v>3.8536832774354747E-2</c:v>
                </c:pt>
                <c:pt idx="3">
                  <c:v>3.6142349707017123E-2</c:v>
                </c:pt>
                <c:pt idx="4">
                  <c:v>3.4111361466346204E-2</c:v>
                </c:pt>
                <c:pt idx="5">
                  <c:v>3.0908954304397114E-2</c:v>
                </c:pt>
                <c:pt idx="6">
                  <c:v>3.0620446861354674E-2</c:v>
                </c:pt>
                <c:pt idx="7">
                  <c:v>2.8805999722525882E-2</c:v>
                </c:pt>
                <c:pt idx="8">
                  <c:v>2.7881244146487925E-2</c:v>
                </c:pt>
                <c:pt idx="9">
                  <c:v>2.6279957394539363E-2</c:v>
                </c:pt>
                <c:pt idx="10">
                  <c:v>2.4892144084108593E-2</c:v>
                </c:pt>
                <c:pt idx="11">
                  <c:v>2.3007430859786578E-2</c:v>
                </c:pt>
                <c:pt idx="12">
                  <c:v>2.2785602477322413E-2</c:v>
                </c:pt>
                <c:pt idx="13">
                  <c:v>2.0990216748787E-2</c:v>
                </c:pt>
                <c:pt idx="14">
                  <c:v>1.9519979591093695E-2</c:v>
                </c:pt>
                <c:pt idx="15">
                  <c:v>1.9014499327574513E-2</c:v>
                </c:pt>
                <c:pt idx="16">
                  <c:v>1.8966488924124551E-2</c:v>
                </c:pt>
                <c:pt idx="17">
                  <c:v>1.825306689254947E-2</c:v>
                </c:pt>
                <c:pt idx="18">
                  <c:v>1.8060742986395074E-2</c:v>
                </c:pt>
                <c:pt idx="19">
                  <c:v>1.6502005063147033E-2</c:v>
                </c:pt>
                <c:pt idx="20">
                  <c:v>1.6237133627904462E-2</c:v>
                </c:pt>
                <c:pt idx="21">
                  <c:v>1.5685540742823093E-2</c:v>
                </c:pt>
                <c:pt idx="22">
                  <c:v>1.373693002487352E-2</c:v>
                </c:pt>
                <c:pt idx="23">
                  <c:v>1.3521138736261566E-2</c:v>
                </c:pt>
                <c:pt idx="24">
                  <c:v>1.3087610073088517E-2</c:v>
                </c:pt>
                <c:pt idx="25">
                  <c:v>1.2756040923822164E-2</c:v>
                </c:pt>
                <c:pt idx="26">
                  <c:v>1.2583133789239153E-2</c:v>
                </c:pt>
                <c:pt idx="27">
                  <c:v>1.2532292498498061E-2</c:v>
                </c:pt>
                <c:pt idx="28">
                  <c:v>1.2124482526958942E-2</c:v>
                </c:pt>
                <c:pt idx="29">
                  <c:v>1.1321330434228399E-2</c:v>
                </c:pt>
                <c:pt idx="30">
                  <c:v>1.1308572505015949E-2</c:v>
                </c:pt>
                <c:pt idx="31">
                  <c:v>1.0893667399592863E-2</c:v>
                </c:pt>
                <c:pt idx="32">
                  <c:v>1.0548395540578704E-2</c:v>
                </c:pt>
                <c:pt idx="33">
                  <c:v>1.0332326519971723E-2</c:v>
                </c:pt>
                <c:pt idx="34">
                  <c:v>1.016979814597602E-2</c:v>
                </c:pt>
                <c:pt idx="35">
                  <c:v>9.9210300674795471E-3</c:v>
                </c:pt>
                <c:pt idx="36">
                  <c:v>9.8004352116524262E-3</c:v>
                </c:pt>
                <c:pt idx="37">
                  <c:v>9.2130308152067412E-3</c:v>
                </c:pt>
                <c:pt idx="38">
                  <c:v>9.1843575190222737E-3</c:v>
                </c:pt>
                <c:pt idx="39">
                  <c:v>8.8487160888132878E-3</c:v>
                </c:pt>
                <c:pt idx="40">
                  <c:v>8.7206112621787402E-3</c:v>
                </c:pt>
                <c:pt idx="41">
                  <c:v>8.4407559818536742E-3</c:v>
                </c:pt>
                <c:pt idx="42">
                  <c:v>8.2909393262207646E-3</c:v>
                </c:pt>
                <c:pt idx="43">
                  <c:v>8.0342617338993935E-3</c:v>
                </c:pt>
                <c:pt idx="44">
                  <c:v>7.9220407907499776E-3</c:v>
                </c:pt>
                <c:pt idx="45">
                  <c:v>7.7331359035760191E-3</c:v>
                </c:pt>
                <c:pt idx="46">
                  <c:v>7.5081352921670223E-3</c:v>
                </c:pt>
                <c:pt idx="47">
                  <c:v>7.1699846683756776E-3</c:v>
                </c:pt>
                <c:pt idx="48">
                  <c:v>6.9471654112006733E-3</c:v>
                </c:pt>
                <c:pt idx="49">
                  <c:v>6.8673303397140664E-3</c:v>
                </c:pt>
                <c:pt idx="50">
                  <c:v>6.6580110055244335E-3</c:v>
                </c:pt>
                <c:pt idx="51">
                  <c:v>6.5784841046641063E-3</c:v>
                </c:pt>
                <c:pt idx="52">
                  <c:v>6.3189916912719741E-3</c:v>
                </c:pt>
                <c:pt idx="53">
                  <c:v>6.2240591887637265E-3</c:v>
                </c:pt>
                <c:pt idx="54">
                  <c:v>5.9523651091610112E-3</c:v>
                </c:pt>
                <c:pt idx="55">
                  <c:v>5.8442170344849944E-3</c:v>
                </c:pt>
                <c:pt idx="56">
                  <c:v>5.2772026508087272E-3</c:v>
                </c:pt>
                <c:pt idx="57">
                  <c:v>4.9586481513770242E-3</c:v>
                </c:pt>
                <c:pt idx="58">
                  <c:v>4.9492922588914908E-3</c:v>
                </c:pt>
                <c:pt idx="59">
                  <c:v>4.7363194782368383E-3</c:v>
                </c:pt>
                <c:pt idx="60">
                  <c:v>4.6973944374301109E-3</c:v>
                </c:pt>
                <c:pt idx="61">
                  <c:v>4.6270627876877869E-3</c:v>
                </c:pt>
                <c:pt idx="62">
                  <c:v>4.5608352853166384E-3</c:v>
                </c:pt>
                <c:pt idx="63">
                  <c:v>4.4291841447335481E-3</c:v>
                </c:pt>
                <c:pt idx="64">
                  <c:v>4.3701817274563364E-3</c:v>
                </c:pt>
                <c:pt idx="65">
                  <c:v>4.2224826974424836E-3</c:v>
                </c:pt>
                <c:pt idx="66">
                  <c:v>4.0068328573500895E-3</c:v>
                </c:pt>
                <c:pt idx="67">
                  <c:v>3.8211162619870651E-3</c:v>
                </c:pt>
                <c:pt idx="68">
                  <c:v>3.8171471851744733E-3</c:v>
                </c:pt>
                <c:pt idx="69">
                  <c:v>3.5267846466540973E-3</c:v>
                </c:pt>
                <c:pt idx="70">
                  <c:v>3.4623934022992918E-3</c:v>
                </c:pt>
                <c:pt idx="71">
                  <c:v>3.4545355535554215E-3</c:v>
                </c:pt>
                <c:pt idx="72">
                  <c:v>3.2697887951048223E-3</c:v>
                </c:pt>
                <c:pt idx="73">
                  <c:v>2.9060852164247302E-3</c:v>
                </c:pt>
                <c:pt idx="74">
                  <c:v>2.801732681322638E-3</c:v>
                </c:pt>
                <c:pt idx="75">
                  <c:v>2.6319105802175202E-3</c:v>
                </c:pt>
                <c:pt idx="76">
                  <c:v>2.4259556810098419E-3</c:v>
                </c:pt>
                <c:pt idx="77">
                  <c:v>2.4206955013086305E-3</c:v>
                </c:pt>
                <c:pt idx="78">
                  <c:v>1.8806987165425186E-3</c:v>
                </c:pt>
                <c:pt idx="79">
                  <c:v>1.8756391721928048E-3</c:v>
                </c:pt>
                <c:pt idx="80">
                  <c:v>1.1718120820254864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B$2:$B$4</c:f>
              <c:numCache>
                <c:formatCode>General</c:formatCode>
                <c:ptCount val="3"/>
                <c:pt idx="0">
                  <c:v>103.57407819706917</c:v>
                </c:pt>
                <c:pt idx="1">
                  <c:v>101.67961972464981</c:v>
                </c:pt>
                <c:pt idx="2">
                  <c:v>101.2456546619626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C$2:$C$4</c:f>
              <c:numCache>
                <c:formatCode>General</c:formatCode>
                <c:ptCount val="3"/>
                <c:pt idx="0">
                  <c:v>104.57241555693446</c:v>
                </c:pt>
                <c:pt idx="1">
                  <c:v>101.22504515743755</c:v>
                </c:pt>
                <c:pt idx="2">
                  <c:v>101.102152704350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D$2:$D$4</c:f>
              <c:numCache>
                <c:formatCode>General</c:formatCode>
                <c:ptCount val="3"/>
                <c:pt idx="0">
                  <c:v>104.26702809824302</c:v>
                </c:pt>
                <c:pt idx="1">
                  <c:v>100.72226841873824</c:v>
                </c:pt>
                <c:pt idx="2">
                  <c:v>100.2719773486021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3954548593340608E-2</c:v>
                </c:pt>
                <c:pt idx="1">
                  <c:v>8.2468857741912344E-2</c:v>
                </c:pt>
                <c:pt idx="2">
                  <c:v>8.7790435036276815E-2</c:v>
                </c:pt>
                <c:pt idx="3">
                  <c:v>7.703202217113983E-2</c:v>
                </c:pt>
                <c:pt idx="4">
                  <c:v>4.6855129211082147E-2</c:v>
                </c:pt>
                <c:pt idx="5">
                  <c:v>4.8973211639427187E-2</c:v>
                </c:pt>
                <c:pt idx="6">
                  <c:v>2.6506863391568616E-2</c:v>
                </c:pt>
                <c:pt idx="7">
                  <c:v>3.1823448014646781E-2</c:v>
                </c:pt>
                <c:pt idx="8">
                  <c:v>2.4732824569274402E-2</c:v>
                </c:pt>
                <c:pt idx="9">
                  <c:v>2.1489180818629439E-2</c:v>
                </c:pt>
                <c:pt idx="10">
                  <c:v>1.9743047837428022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15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4.6470264173289734E-2</c:v>
                </c:pt>
                <c:pt idx="1">
                  <c:v>5.7895064700127979E-2</c:v>
                </c:pt>
                <c:pt idx="2">
                  <c:v>3.4118438996496921E-2</c:v>
                </c:pt>
                <c:pt idx="3">
                  <c:v>2.8531541505963619E-2</c:v>
                </c:pt>
                <c:pt idx="4">
                  <c:v>3.383314367293596E-2</c:v>
                </c:pt>
                <c:pt idx="5">
                  <c:v>2.4298780708691195E-2</c:v>
                </c:pt>
                <c:pt idx="6">
                  <c:v>3.0882049620316657E-2</c:v>
                </c:pt>
                <c:pt idx="7">
                  <c:v>1.2182187885114618E-2</c:v>
                </c:pt>
                <c:pt idx="8">
                  <c:v>1.6550033946253928E-2</c:v>
                </c:pt>
                <c:pt idx="9">
                  <c:v>1.8885612698561611E-2</c:v>
                </c:pt>
                <c:pt idx="10">
                  <c:v>3.011815652983528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6260229263266116E-2</c:v>
                </c:pt>
                <c:pt idx="1">
                  <c:v>5.0929911393455284E-2</c:v>
                </c:pt>
                <c:pt idx="2">
                  <c:v>4.8822703890959496E-2</c:v>
                </c:pt>
                <c:pt idx="3">
                  <c:v>3.7179548834686986E-2</c:v>
                </c:pt>
                <c:pt idx="4">
                  <c:v>6.038000004649368E-2</c:v>
                </c:pt>
                <c:pt idx="5">
                  <c:v>4.10637465857316E-2</c:v>
                </c:pt>
                <c:pt idx="6">
                  <c:v>4.5335024126671314E-2</c:v>
                </c:pt>
                <c:pt idx="7">
                  <c:v>2.4227034101015194E-2</c:v>
                </c:pt>
                <c:pt idx="8">
                  <c:v>2.5573700073503462E-2</c:v>
                </c:pt>
                <c:pt idx="9">
                  <c:v>2.5005508966393017E-2</c:v>
                </c:pt>
                <c:pt idx="10">
                  <c:v>1.52080890675631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006C6D"/>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lang="en-US"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Serum FPS50 1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589248316115317E-2</c:v>
                </c:pt>
                <c:pt idx="1">
                  <c:v>3.9889162272347935E-2</c:v>
                </c:pt>
                <c:pt idx="2">
                  <c:v>3.8585425641059067E-2</c:v>
                </c:pt>
                <c:pt idx="3">
                  <c:v>3.6180236989656805E-2</c:v>
                </c:pt>
                <c:pt idx="4">
                  <c:v>3.4150947877415495E-2</c:v>
                </c:pt>
                <c:pt idx="5">
                  <c:v>3.0924314045753486E-2</c:v>
                </c:pt>
                <c:pt idx="6">
                  <c:v>3.0644429740383842E-2</c:v>
                </c:pt>
                <c:pt idx="7">
                  <c:v>2.8811545608544948E-2</c:v>
                </c:pt>
                <c:pt idx="8">
                  <c:v>2.792472366456885E-2</c:v>
                </c:pt>
                <c:pt idx="9">
                  <c:v>2.6283600008439947E-2</c:v>
                </c:pt>
                <c:pt idx="10">
                  <c:v>2.4879794469299089E-2</c:v>
                </c:pt>
                <c:pt idx="11">
                  <c:v>2.302033741563483E-2</c:v>
                </c:pt>
                <c:pt idx="12">
                  <c:v>2.2795131574603073E-2</c:v>
                </c:pt>
                <c:pt idx="13">
                  <c:v>2.1008151572635407E-2</c:v>
                </c:pt>
                <c:pt idx="14">
                  <c:v>1.9525577498199193E-2</c:v>
                </c:pt>
                <c:pt idx="15">
                  <c:v>1.9040015722383157E-2</c:v>
                </c:pt>
                <c:pt idx="16">
                  <c:v>1.8954864609286807E-2</c:v>
                </c:pt>
                <c:pt idx="17">
                  <c:v>1.8266791216206814E-2</c:v>
                </c:pt>
                <c:pt idx="18">
                  <c:v>1.8052961918951275E-2</c:v>
                </c:pt>
                <c:pt idx="19">
                  <c:v>1.651724006568096E-2</c:v>
                </c:pt>
                <c:pt idx="20">
                  <c:v>1.6225822985410737E-2</c:v>
                </c:pt>
                <c:pt idx="21">
                  <c:v>1.5700628715786463E-2</c:v>
                </c:pt>
                <c:pt idx="22">
                  <c:v>1.3742232599130162E-2</c:v>
                </c:pt>
                <c:pt idx="23">
                  <c:v>1.352738007699654E-2</c:v>
                </c:pt>
                <c:pt idx="24">
                  <c:v>1.309062743812099E-2</c:v>
                </c:pt>
                <c:pt idx="25">
                  <c:v>1.2756807974575964E-2</c:v>
                </c:pt>
                <c:pt idx="26">
                  <c:v>1.2576013488393585E-2</c:v>
                </c:pt>
                <c:pt idx="27">
                  <c:v>1.2530075302872184E-2</c:v>
                </c:pt>
                <c:pt idx="28">
                  <c:v>1.2121868980161847E-2</c:v>
                </c:pt>
                <c:pt idx="29">
                  <c:v>1.1318707419896368E-2</c:v>
                </c:pt>
                <c:pt idx="30">
                  <c:v>1.1311692446993458E-2</c:v>
                </c:pt>
                <c:pt idx="31">
                  <c:v>1.0897746013185135E-2</c:v>
                </c:pt>
                <c:pt idx="32">
                  <c:v>1.0549560108138619E-2</c:v>
                </c:pt>
                <c:pt idx="33">
                  <c:v>1.0336041498698403E-2</c:v>
                </c:pt>
                <c:pt idx="34">
                  <c:v>1.0171623340835545E-2</c:v>
                </c:pt>
                <c:pt idx="35">
                  <c:v>9.9204921042211833E-3</c:v>
                </c:pt>
                <c:pt idx="36">
                  <c:v>9.7944097248462616E-3</c:v>
                </c:pt>
                <c:pt idx="37">
                  <c:v>9.2130856573126411E-3</c:v>
                </c:pt>
                <c:pt idx="38">
                  <c:v>9.1868087403365415E-3</c:v>
                </c:pt>
                <c:pt idx="39">
                  <c:v>8.8498544219440412E-3</c:v>
                </c:pt>
                <c:pt idx="40">
                  <c:v>8.7228613563145388E-3</c:v>
                </c:pt>
                <c:pt idx="41">
                  <c:v>8.4433088493293344E-3</c:v>
                </c:pt>
                <c:pt idx="42">
                  <c:v>8.2883518828892194E-3</c:v>
                </c:pt>
                <c:pt idx="43">
                  <c:v>8.0346155790335747E-3</c:v>
                </c:pt>
                <c:pt idx="44">
                  <c:v>7.9211684524103394E-3</c:v>
                </c:pt>
                <c:pt idx="45">
                  <c:v>7.7321182541142995E-3</c:v>
                </c:pt>
                <c:pt idx="46">
                  <c:v>7.5116962835318187E-3</c:v>
                </c:pt>
                <c:pt idx="47">
                  <c:v>7.1634978687554239E-3</c:v>
                </c:pt>
                <c:pt idx="48">
                  <c:v>6.9464896334941306E-3</c:v>
                </c:pt>
                <c:pt idx="49">
                  <c:v>6.8639965339621313E-3</c:v>
                </c:pt>
                <c:pt idx="50">
                  <c:v>6.6554979782558555E-3</c:v>
                </c:pt>
                <c:pt idx="51">
                  <c:v>6.5792820131530599E-3</c:v>
                </c:pt>
                <c:pt idx="52">
                  <c:v>6.3202919851740036E-3</c:v>
                </c:pt>
                <c:pt idx="53">
                  <c:v>6.222192228147282E-3</c:v>
                </c:pt>
                <c:pt idx="54">
                  <c:v>5.9518578458846285E-3</c:v>
                </c:pt>
                <c:pt idx="55">
                  <c:v>5.8418541736511165E-3</c:v>
                </c:pt>
                <c:pt idx="56">
                  <c:v>5.2782666056934071E-3</c:v>
                </c:pt>
                <c:pt idx="57">
                  <c:v>4.9551955028830641E-3</c:v>
                </c:pt>
                <c:pt idx="58">
                  <c:v>4.9502411445402593E-3</c:v>
                </c:pt>
                <c:pt idx="59">
                  <c:v>4.732951344101277E-3</c:v>
                </c:pt>
                <c:pt idx="60">
                  <c:v>4.6952887864694032E-3</c:v>
                </c:pt>
                <c:pt idx="61">
                  <c:v>4.6249319513415191E-3</c:v>
                </c:pt>
                <c:pt idx="62">
                  <c:v>4.5588869250323006E-3</c:v>
                </c:pt>
                <c:pt idx="63">
                  <c:v>4.4230690757601819E-3</c:v>
                </c:pt>
                <c:pt idx="64">
                  <c:v>4.3708177229316459E-3</c:v>
                </c:pt>
                <c:pt idx="65">
                  <c:v>4.2173917459556228E-3</c:v>
                </c:pt>
                <c:pt idx="66">
                  <c:v>4.0069445436115708E-3</c:v>
                </c:pt>
                <c:pt idx="67">
                  <c:v>3.818671537786522E-3</c:v>
                </c:pt>
                <c:pt idx="68">
                  <c:v>3.812608631996508E-3</c:v>
                </c:pt>
                <c:pt idx="69">
                  <c:v>3.5237522852069342E-3</c:v>
                </c:pt>
                <c:pt idx="70">
                  <c:v>3.4532062092096603E-3</c:v>
                </c:pt>
                <c:pt idx="71">
                  <c:v>3.2694726704727314E-3</c:v>
                </c:pt>
                <c:pt idx="72">
                  <c:v>3.1438966165021611E-3</c:v>
                </c:pt>
                <c:pt idx="73">
                  <c:v>2.9048600260837484E-3</c:v>
                </c:pt>
                <c:pt idx="74">
                  <c:v>2.7992489707725277E-3</c:v>
                </c:pt>
                <c:pt idx="75">
                  <c:v>2.6313975087558341E-3</c:v>
                </c:pt>
                <c:pt idx="76">
                  <c:v>2.4219432413109705E-3</c:v>
                </c:pt>
                <c:pt idx="77">
                  <c:v>2.4182561294661098E-3</c:v>
                </c:pt>
                <c:pt idx="78">
                  <c:v>1.8795995941781082E-3</c:v>
                </c:pt>
                <c:pt idx="79">
                  <c:v>1.8727524450278914E-3</c:v>
                </c:pt>
                <c:pt idx="80">
                  <c:v>1.1712886017869186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006C6D"/>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r>
                      <a:rPr lang="en-US"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Lip balm FPS30 10g</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615939134977264E-2</c:v>
                </c:pt>
                <c:pt idx="1">
                  <c:v>3.9910151908288137E-2</c:v>
                </c:pt>
                <c:pt idx="2">
                  <c:v>3.8587349678003903E-2</c:v>
                </c:pt>
                <c:pt idx="3">
                  <c:v>3.6184919833472037E-2</c:v>
                </c:pt>
                <c:pt idx="4">
                  <c:v>3.4175387760378866E-2</c:v>
                </c:pt>
                <c:pt idx="5">
                  <c:v>3.0936234396879141E-2</c:v>
                </c:pt>
                <c:pt idx="6">
                  <c:v>3.067135927392628E-2</c:v>
                </c:pt>
                <c:pt idx="7">
                  <c:v>2.8823662374363658E-2</c:v>
                </c:pt>
                <c:pt idx="8">
                  <c:v>2.7934798129598769E-2</c:v>
                </c:pt>
                <c:pt idx="9">
                  <c:v>2.6285024898272235E-2</c:v>
                </c:pt>
                <c:pt idx="10">
                  <c:v>2.4896072564015062E-2</c:v>
                </c:pt>
                <c:pt idx="11">
                  <c:v>2.302886560838114E-2</c:v>
                </c:pt>
                <c:pt idx="12">
                  <c:v>2.2812574927056177E-2</c:v>
                </c:pt>
                <c:pt idx="13">
                  <c:v>2.1008349226955207E-2</c:v>
                </c:pt>
                <c:pt idx="14">
                  <c:v>1.9515208155746328E-2</c:v>
                </c:pt>
                <c:pt idx="15">
                  <c:v>1.9057879371658655E-2</c:v>
                </c:pt>
                <c:pt idx="16">
                  <c:v>1.893702151990212E-2</c:v>
                </c:pt>
                <c:pt idx="17">
                  <c:v>1.8267262612228132E-2</c:v>
                </c:pt>
                <c:pt idx="18">
                  <c:v>1.8053296808465825E-2</c:v>
                </c:pt>
                <c:pt idx="19">
                  <c:v>1.6512484397941386E-2</c:v>
                </c:pt>
                <c:pt idx="20">
                  <c:v>1.6227848724658846E-2</c:v>
                </c:pt>
                <c:pt idx="21">
                  <c:v>1.5700703742469558E-2</c:v>
                </c:pt>
                <c:pt idx="22">
                  <c:v>1.3747087373995017E-2</c:v>
                </c:pt>
                <c:pt idx="23">
                  <c:v>1.3531438626535337E-2</c:v>
                </c:pt>
                <c:pt idx="24">
                  <c:v>1.3072396358570992E-2</c:v>
                </c:pt>
                <c:pt idx="25">
                  <c:v>1.2738510915262713E-2</c:v>
                </c:pt>
                <c:pt idx="26">
                  <c:v>1.2572176891990266E-2</c:v>
                </c:pt>
                <c:pt idx="27">
                  <c:v>1.2518106161412459E-2</c:v>
                </c:pt>
                <c:pt idx="28">
                  <c:v>1.2150797508350776E-2</c:v>
                </c:pt>
                <c:pt idx="29">
                  <c:v>1.1329144271580638E-2</c:v>
                </c:pt>
                <c:pt idx="30">
                  <c:v>1.1302976709888824E-2</c:v>
                </c:pt>
                <c:pt idx="31">
                  <c:v>1.0880336751009821E-2</c:v>
                </c:pt>
                <c:pt idx="32">
                  <c:v>1.0536486119847366E-2</c:v>
                </c:pt>
                <c:pt idx="33">
                  <c:v>1.0345836895186051E-2</c:v>
                </c:pt>
                <c:pt idx="34">
                  <c:v>1.0164220732013703E-2</c:v>
                </c:pt>
                <c:pt idx="35">
                  <c:v>9.9244249231064761E-3</c:v>
                </c:pt>
                <c:pt idx="36">
                  <c:v>9.8121130303194023E-3</c:v>
                </c:pt>
                <c:pt idx="37">
                  <c:v>9.211546779897075E-3</c:v>
                </c:pt>
                <c:pt idx="38">
                  <c:v>9.1765857124802772E-3</c:v>
                </c:pt>
                <c:pt idx="39">
                  <c:v>8.8286852904963173E-3</c:v>
                </c:pt>
                <c:pt idx="40">
                  <c:v>8.7174232149031632E-3</c:v>
                </c:pt>
                <c:pt idx="41">
                  <c:v>8.4273668385318103E-3</c:v>
                </c:pt>
                <c:pt idx="42">
                  <c:v>8.2843812903189984E-3</c:v>
                </c:pt>
                <c:pt idx="43">
                  <c:v>8.0429168792887883E-3</c:v>
                </c:pt>
                <c:pt idx="44">
                  <c:v>7.9084022198925869E-3</c:v>
                </c:pt>
                <c:pt idx="45">
                  <c:v>7.7198342311989403E-3</c:v>
                </c:pt>
                <c:pt idx="46">
                  <c:v>7.5151060041755762E-3</c:v>
                </c:pt>
                <c:pt idx="47">
                  <c:v>7.1682173887726644E-3</c:v>
                </c:pt>
                <c:pt idx="48">
                  <c:v>6.9400480502860382E-3</c:v>
                </c:pt>
                <c:pt idx="49">
                  <c:v>6.8752803307066497E-3</c:v>
                </c:pt>
                <c:pt idx="50">
                  <c:v>6.6650236247924183E-3</c:v>
                </c:pt>
                <c:pt idx="51">
                  <c:v>6.5663751269854362E-3</c:v>
                </c:pt>
                <c:pt idx="52">
                  <c:v>6.3239741086135249E-3</c:v>
                </c:pt>
                <c:pt idx="53">
                  <c:v>6.2228305736902736E-3</c:v>
                </c:pt>
                <c:pt idx="54">
                  <c:v>5.942824773539297E-3</c:v>
                </c:pt>
                <c:pt idx="55">
                  <c:v>5.8316141902899216E-3</c:v>
                </c:pt>
                <c:pt idx="56">
                  <c:v>5.2802736346301933E-3</c:v>
                </c:pt>
                <c:pt idx="57">
                  <c:v>4.9616450492054277E-3</c:v>
                </c:pt>
                <c:pt idx="58">
                  <c:v>4.9581746356970697E-3</c:v>
                </c:pt>
                <c:pt idx="59">
                  <c:v>4.7346490304983257E-3</c:v>
                </c:pt>
                <c:pt idx="60">
                  <c:v>4.7006689952801333E-3</c:v>
                </c:pt>
                <c:pt idx="61">
                  <c:v>4.6198947362358607E-3</c:v>
                </c:pt>
                <c:pt idx="62">
                  <c:v>4.5492797660419502E-3</c:v>
                </c:pt>
                <c:pt idx="63">
                  <c:v>4.4236098626813719E-3</c:v>
                </c:pt>
                <c:pt idx="64">
                  <c:v>4.3717499683136466E-3</c:v>
                </c:pt>
                <c:pt idx="65">
                  <c:v>4.214491313359439E-3</c:v>
                </c:pt>
                <c:pt idx="66">
                  <c:v>4.0102182300597719E-3</c:v>
                </c:pt>
                <c:pt idx="67">
                  <c:v>3.8210360419423505E-3</c:v>
                </c:pt>
                <c:pt idx="68">
                  <c:v>3.8105520275844356E-3</c:v>
                </c:pt>
                <c:pt idx="69">
                  <c:v>3.518678511052926E-3</c:v>
                </c:pt>
                <c:pt idx="70">
                  <c:v>3.4523361546463785E-3</c:v>
                </c:pt>
                <c:pt idx="71">
                  <c:v>3.2672739613914567E-3</c:v>
                </c:pt>
                <c:pt idx="72">
                  <c:v>3.0959369506092967E-3</c:v>
                </c:pt>
                <c:pt idx="73">
                  <c:v>2.9041593596867564E-3</c:v>
                </c:pt>
                <c:pt idx="74">
                  <c:v>2.7955017951400646E-3</c:v>
                </c:pt>
                <c:pt idx="75">
                  <c:v>2.6288683929890891E-3</c:v>
                </c:pt>
                <c:pt idx="76">
                  <c:v>2.4185473145715052E-3</c:v>
                </c:pt>
                <c:pt idx="77">
                  <c:v>2.4183636224432477E-3</c:v>
                </c:pt>
                <c:pt idx="78">
                  <c:v>1.8725609753641565E-3</c:v>
                </c:pt>
                <c:pt idx="79">
                  <c:v>1.8652048107809221E-3</c:v>
                </c:pt>
                <c:pt idx="80">
                  <c:v>1.169439914226069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006C6D"/>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r>
                      <a:rPr lang="en-US"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Silk Hydration Glow Mist FPS50+ 10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653846165416127E-2</c:v>
                </c:pt>
                <c:pt idx="1">
                  <c:v>3.993749705856469E-2</c:v>
                </c:pt>
                <c:pt idx="2">
                  <c:v>3.8608536983729888E-2</c:v>
                </c:pt>
                <c:pt idx="3">
                  <c:v>3.6213364643029045E-2</c:v>
                </c:pt>
                <c:pt idx="4">
                  <c:v>3.4184923736933076E-2</c:v>
                </c:pt>
                <c:pt idx="5">
                  <c:v>3.0968881655142787E-2</c:v>
                </c:pt>
                <c:pt idx="6">
                  <c:v>3.0682434225770924E-2</c:v>
                </c:pt>
                <c:pt idx="7">
                  <c:v>2.884207519705078E-2</c:v>
                </c:pt>
                <c:pt idx="8">
                  <c:v>2.7949584800370995E-2</c:v>
                </c:pt>
                <c:pt idx="9">
                  <c:v>2.6308146420296764E-2</c:v>
                </c:pt>
                <c:pt idx="10">
                  <c:v>2.4920636236771335E-2</c:v>
                </c:pt>
                <c:pt idx="11">
                  <c:v>2.3045830538556682E-2</c:v>
                </c:pt>
                <c:pt idx="12">
                  <c:v>2.2819723099850964E-2</c:v>
                </c:pt>
                <c:pt idx="13">
                  <c:v>2.1021220144891092E-2</c:v>
                </c:pt>
                <c:pt idx="14">
                  <c:v>1.9532557884626947E-2</c:v>
                </c:pt>
                <c:pt idx="15">
                  <c:v>1.9062746368499077E-2</c:v>
                </c:pt>
                <c:pt idx="16">
                  <c:v>1.8976333184318083E-2</c:v>
                </c:pt>
                <c:pt idx="17">
                  <c:v>1.8285269144461415E-2</c:v>
                </c:pt>
                <c:pt idx="18">
                  <c:v>1.8075636031711164E-2</c:v>
                </c:pt>
                <c:pt idx="19">
                  <c:v>1.6532806619011051E-2</c:v>
                </c:pt>
                <c:pt idx="20">
                  <c:v>1.6250368503243299E-2</c:v>
                </c:pt>
                <c:pt idx="21">
                  <c:v>1.5711769225476707E-2</c:v>
                </c:pt>
                <c:pt idx="22">
                  <c:v>1.3757310076818774E-2</c:v>
                </c:pt>
                <c:pt idx="23">
                  <c:v>1.3548438218702052E-2</c:v>
                </c:pt>
                <c:pt idx="24">
                  <c:v>1.3094583401454413E-2</c:v>
                </c:pt>
                <c:pt idx="25">
                  <c:v>1.2765855638304471E-2</c:v>
                </c:pt>
                <c:pt idx="26">
                  <c:v>1.2597735378442037E-2</c:v>
                </c:pt>
                <c:pt idx="27">
                  <c:v>1.2536134272035414E-2</c:v>
                </c:pt>
                <c:pt idx="28">
                  <c:v>1.2153356581962631E-2</c:v>
                </c:pt>
                <c:pt idx="29">
                  <c:v>1.1330826185105863E-2</c:v>
                </c:pt>
                <c:pt idx="30">
                  <c:v>1.1315829094607316E-2</c:v>
                </c:pt>
                <c:pt idx="31">
                  <c:v>1.090222569669997E-2</c:v>
                </c:pt>
                <c:pt idx="32">
                  <c:v>1.0559464876550316E-2</c:v>
                </c:pt>
                <c:pt idx="33">
                  <c:v>1.0346229649686556E-2</c:v>
                </c:pt>
                <c:pt idx="34">
                  <c:v>1.0181852863110796E-2</c:v>
                </c:pt>
                <c:pt idx="35">
                  <c:v>9.9352926204512547E-3</c:v>
                </c:pt>
                <c:pt idx="36">
                  <c:v>9.8167492544918196E-3</c:v>
                </c:pt>
                <c:pt idx="37">
                  <c:v>9.2220923142561709E-3</c:v>
                </c:pt>
                <c:pt idx="38">
                  <c:v>9.1966879096700427E-3</c:v>
                </c:pt>
                <c:pt idx="39">
                  <c:v>8.847440480563188E-3</c:v>
                </c:pt>
                <c:pt idx="40">
                  <c:v>8.731575755532385E-3</c:v>
                </c:pt>
                <c:pt idx="41">
                  <c:v>8.4443726470908448E-3</c:v>
                </c:pt>
                <c:pt idx="42">
                  <c:v>8.2993026844799603E-3</c:v>
                </c:pt>
                <c:pt idx="43">
                  <c:v>8.0486496355939505E-3</c:v>
                </c:pt>
                <c:pt idx="44">
                  <c:v>7.9294785603847458E-3</c:v>
                </c:pt>
                <c:pt idx="45">
                  <c:v>7.7399918901071832E-3</c:v>
                </c:pt>
                <c:pt idx="46">
                  <c:v>7.5209357532769706E-3</c:v>
                </c:pt>
                <c:pt idx="47">
                  <c:v>7.173945599148814E-3</c:v>
                </c:pt>
                <c:pt idx="48">
                  <c:v>6.9499724240349777E-3</c:v>
                </c:pt>
                <c:pt idx="49">
                  <c:v>6.8712978652240601E-3</c:v>
                </c:pt>
                <c:pt idx="50">
                  <c:v>6.6683426056600419E-3</c:v>
                </c:pt>
                <c:pt idx="51">
                  <c:v>6.5861470742214932E-3</c:v>
                </c:pt>
                <c:pt idx="52">
                  <c:v>6.3294091127704061E-3</c:v>
                </c:pt>
                <c:pt idx="53">
                  <c:v>6.2295901866227382E-3</c:v>
                </c:pt>
                <c:pt idx="54">
                  <c:v>5.9595879680541973E-3</c:v>
                </c:pt>
                <c:pt idx="55">
                  <c:v>5.8468436313985905E-3</c:v>
                </c:pt>
                <c:pt idx="56">
                  <c:v>5.2850656489285119E-3</c:v>
                </c:pt>
                <c:pt idx="57">
                  <c:v>4.9597715267921125E-3</c:v>
                </c:pt>
                <c:pt idx="58">
                  <c:v>4.9585167537025297E-3</c:v>
                </c:pt>
                <c:pt idx="59">
                  <c:v>4.7402720176065319E-3</c:v>
                </c:pt>
                <c:pt idx="60">
                  <c:v>4.7014371970880622E-3</c:v>
                </c:pt>
                <c:pt idx="61">
                  <c:v>4.6254123426796049E-3</c:v>
                </c:pt>
                <c:pt idx="62">
                  <c:v>4.5594685880130346E-3</c:v>
                </c:pt>
                <c:pt idx="63">
                  <c:v>4.4219998805610757E-3</c:v>
                </c:pt>
                <c:pt idx="64">
                  <c:v>4.3764130064861163E-3</c:v>
                </c:pt>
                <c:pt idx="65">
                  <c:v>4.2216987585046786E-3</c:v>
                </c:pt>
                <c:pt idx="66">
                  <c:v>4.01313465693315E-3</c:v>
                </c:pt>
                <c:pt idx="67">
                  <c:v>3.8245431811768601E-3</c:v>
                </c:pt>
                <c:pt idx="68">
                  <c:v>3.8169175360292973E-3</c:v>
                </c:pt>
                <c:pt idx="69">
                  <c:v>3.5228741740250869E-3</c:v>
                </c:pt>
                <c:pt idx="70">
                  <c:v>3.4575149382632814E-3</c:v>
                </c:pt>
                <c:pt idx="71">
                  <c:v>3.2737629534797213E-3</c:v>
                </c:pt>
                <c:pt idx="72">
                  <c:v>2.9091466968051605E-3</c:v>
                </c:pt>
                <c:pt idx="73">
                  <c:v>2.8007197203129908E-3</c:v>
                </c:pt>
                <c:pt idx="74">
                  <c:v>2.6344362841850457E-3</c:v>
                </c:pt>
                <c:pt idx="75">
                  <c:v>2.4234878162099518E-3</c:v>
                </c:pt>
                <c:pt idx="76">
                  <c:v>2.4217829022568369E-3</c:v>
                </c:pt>
                <c:pt idx="77">
                  <c:v>2.1051262570366534E-3</c:v>
                </c:pt>
                <c:pt idx="78">
                  <c:v>1.8792354366024436E-3</c:v>
                </c:pt>
                <c:pt idx="79">
                  <c:v>1.8729164916741769E-3</c:v>
                </c:pt>
                <c:pt idx="80">
                  <c:v>1.172609460409685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1.20299218883841</c:v>
                </c:pt>
                <c:pt idx="1">
                  <c:v>101.29721551257542</c:v>
                </c:pt>
                <c:pt idx="2">
                  <c:v>100.7936722555782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0.80862748320398</c:v>
                </c:pt>
                <c:pt idx="1">
                  <c:v>100.43853915824128</c:v>
                </c:pt>
                <c:pt idx="2">
                  <c:v>100.5760693853403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0.59301912534026</c:v>
                </c:pt>
                <c:pt idx="1">
                  <c:v>100.20106717280515</c:v>
                </c:pt>
                <c:pt idx="2">
                  <c:v>100.2172235444458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8.5260979301444481E-2</c:v>
                </c:pt>
                <c:pt idx="1">
                  <c:v>7.9239108437176825E-2</c:v>
                </c:pt>
                <c:pt idx="2">
                  <c:v>7.5743909550653368E-2</c:v>
                </c:pt>
                <c:pt idx="3">
                  <c:v>6.2411946604424742E-2</c:v>
                </c:pt>
                <c:pt idx="4">
                  <c:v>5.2129791937984782E-2</c:v>
                </c:pt>
                <c:pt idx="5">
                  <c:v>5.1514974092122301E-2</c:v>
                </c:pt>
                <c:pt idx="6">
                  <c:v>5.0415427373331177E-2</c:v>
                </c:pt>
                <c:pt idx="7">
                  <c:v>4.6939812813672516E-2</c:v>
                </c:pt>
                <c:pt idx="8">
                  <c:v>3.6741172716370903E-2</c:v>
                </c:pt>
                <c:pt idx="9">
                  <c:v>2.8052713093311449E-2</c:v>
                </c:pt>
                <c:pt idx="10">
                  <c:v>2.6650175152024683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6.0939911136851731E-2</c:v>
                </c:pt>
                <c:pt idx="1">
                  <c:v>5.1626536493902676E-2</c:v>
                </c:pt>
                <c:pt idx="2">
                  <c:v>5.1312627327673485E-2</c:v>
                </c:pt>
                <c:pt idx="3">
                  <c:v>4.1830522800172146E-2</c:v>
                </c:pt>
                <c:pt idx="4">
                  <c:v>3.5742015447329543E-2</c:v>
                </c:pt>
                <c:pt idx="5">
                  <c:v>3.3735541798290324E-2</c:v>
                </c:pt>
                <c:pt idx="6">
                  <c:v>2.8489829699388784E-2</c:v>
                </c:pt>
                <c:pt idx="7">
                  <c:v>2.2239979378607298E-2</c:v>
                </c:pt>
                <c:pt idx="8">
                  <c:v>2.5362926961137133E-2</c:v>
                </c:pt>
                <c:pt idx="9">
                  <c:v>2.6380390363876065E-2</c:v>
                </c:pt>
                <c:pt idx="10">
                  <c:v>2.011567897384358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426315493034785E-2</c:v>
                </c:pt>
                <c:pt idx="1">
                  <c:v>4.0767776685394247E-2</c:v>
                </c:pt>
                <c:pt idx="2">
                  <c:v>4.4980195907511671E-2</c:v>
                </c:pt>
                <c:pt idx="3">
                  <c:v>3.969060749128183E-2</c:v>
                </c:pt>
                <c:pt idx="4">
                  <c:v>2.8564596053907047E-2</c:v>
                </c:pt>
                <c:pt idx="5">
                  <c:v>2.9324816245536931E-2</c:v>
                </c:pt>
                <c:pt idx="6">
                  <c:v>2.7736874905462741E-2</c:v>
                </c:pt>
                <c:pt idx="7">
                  <c:v>2.4566442770555117E-2</c:v>
                </c:pt>
                <c:pt idx="8">
                  <c:v>1.822359811922938E-2</c:v>
                </c:pt>
                <c:pt idx="9">
                  <c:v>1.8690803519398402E-2</c:v>
                </c:pt>
                <c:pt idx="10">
                  <c:v>2.376164493418805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120431937974968E-2</c:v>
                </c:pt>
                <c:pt idx="1">
                  <c:v>5.097227773629677E-2</c:v>
                </c:pt>
                <c:pt idx="2">
                  <c:v>4.3369566205249357E-2</c:v>
                </c:pt>
                <c:pt idx="3">
                  <c:v>3.3591729227686828E-2</c:v>
                </c:pt>
                <c:pt idx="4">
                  <c:v>3.7202900635368172E-2</c:v>
                </c:pt>
                <c:pt idx="5">
                  <c:v>2.7707431889204631E-2</c:v>
                </c:pt>
                <c:pt idx="6">
                  <c:v>3.106173907522156E-2</c:v>
                </c:pt>
                <c:pt idx="7">
                  <c:v>2.2489454005970518E-2</c:v>
                </c:pt>
                <c:pt idx="8">
                  <c:v>2.5086127701719876E-2</c:v>
                </c:pt>
                <c:pt idx="9">
                  <c:v>2.2145941293486751E-2</c:v>
                </c:pt>
                <c:pt idx="10">
                  <c:v>1.950488357618918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Banana Boat Aqua Protect Sport Spray FPS50+ 24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362232302303064E-2</c:v>
                </c:pt>
                <c:pt idx="1">
                  <c:v>3.9662713673564588E-2</c:v>
                </c:pt>
                <c:pt idx="2">
                  <c:v>3.8361742938159783E-2</c:v>
                </c:pt>
                <c:pt idx="3">
                  <c:v>3.6072334366514559E-2</c:v>
                </c:pt>
                <c:pt idx="4">
                  <c:v>3.4013809241980546E-2</c:v>
                </c:pt>
                <c:pt idx="5">
                  <c:v>3.0872540497704756E-2</c:v>
                </c:pt>
                <c:pt idx="6">
                  <c:v>3.0539736863509075E-2</c:v>
                </c:pt>
                <c:pt idx="7">
                  <c:v>2.8715717616526144E-2</c:v>
                </c:pt>
                <c:pt idx="8">
                  <c:v>2.7767636249266498E-2</c:v>
                </c:pt>
                <c:pt idx="9">
                  <c:v>2.6240694447655158E-2</c:v>
                </c:pt>
                <c:pt idx="10">
                  <c:v>2.4872263748717403E-2</c:v>
                </c:pt>
                <c:pt idx="11">
                  <c:v>2.2932764758189551E-2</c:v>
                </c:pt>
                <c:pt idx="12">
                  <c:v>2.2573090821618305E-2</c:v>
                </c:pt>
                <c:pt idx="13">
                  <c:v>2.0834246007254763E-2</c:v>
                </c:pt>
                <c:pt idx="14">
                  <c:v>1.9447582905170676E-2</c:v>
                </c:pt>
                <c:pt idx="15">
                  <c:v>1.8987874326984407E-2</c:v>
                </c:pt>
                <c:pt idx="16">
                  <c:v>1.8940730105969451E-2</c:v>
                </c:pt>
                <c:pt idx="17">
                  <c:v>1.8147981155954222E-2</c:v>
                </c:pt>
                <c:pt idx="18">
                  <c:v>1.8017696279230565E-2</c:v>
                </c:pt>
                <c:pt idx="19">
                  <c:v>1.6447704765378039E-2</c:v>
                </c:pt>
                <c:pt idx="20">
                  <c:v>1.6220499108284315E-2</c:v>
                </c:pt>
                <c:pt idx="21">
                  <c:v>1.5569382063101598E-2</c:v>
                </c:pt>
                <c:pt idx="22">
                  <c:v>1.3676086106001092E-2</c:v>
                </c:pt>
                <c:pt idx="23">
                  <c:v>1.3471504046730616E-2</c:v>
                </c:pt>
                <c:pt idx="24">
                  <c:v>1.306860050416828E-2</c:v>
                </c:pt>
                <c:pt idx="25">
                  <c:v>1.2724309590591565E-2</c:v>
                </c:pt>
                <c:pt idx="26">
                  <c:v>1.2550849118430438E-2</c:v>
                </c:pt>
                <c:pt idx="27">
                  <c:v>1.2502400437922232E-2</c:v>
                </c:pt>
                <c:pt idx="28">
                  <c:v>1.2125100005810996E-2</c:v>
                </c:pt>
                <c:pt idx="29">
                  <c:v>1.1288148897400077E-2</c:v>
                </c:pt>
                <c:pt idx="30">
                  <c:v>1.1125429691021947E-2</c:v>
                </c:pt>
                <c:pt idx="31">
                  <c:v>1.0878345106686739E-2</c:v>
                </c:pt>
                <c:pt idx="32">
                  <c:v>1.0520933315452398E-2</c:v>
                </c:pt>
                <c:pt idx="33">
                  <c:v>1.032764612232844E-2</c:v>
                </c:pt>
                <c:pt idx="34">
                  <c:v>1.0158596759898501E-2</c:v>
                </c:pt>
                <c:pt idx="35">
                  <c:v>9.8800678267140368E-3</c:v>
                </c:pt>
                <c:pt idx="36">
                  <c:v>9.7901590256473832E-3</c:v>
                </c:pt>
                <c:pt idx="37">
                  <c:v>9.1877181426918229E-3</c:v>
                </c:pt>
                <c:pt idx="38">
                  <c:v>9.1679383044014507E-3</c:v>
                </c:pt>
                <c:pt idx="39">
                  <c:v>8.8285407680482649E-3</c:v>
                </c:pt>
                <c:pt idx="40">
                  <c:v>8.7119876284326662E-3</c:v>
                </c:pt>
                <c:pt idx="41">
                  <c:v>8.4085042003004384E-3</c:v>
                </c:pt>
                <c:pt idx="42">
                  <c:v>8.2693842009916706E-3</c:v>
                </c:pt>
                <c:pt idx="43">
                  <c:v>7.9569233550799926E-3</c:v>
                </c:pt>
                <c:pt idx="44">
                  <c:v>7.917231731128337E-3</c:v>
                </c:pt>
                <c:pt idx="45">
                  <c:v>7.7315320097202829E-3</c:v>
                </c:pt>
                <c:pt idx="46">
                  <c:v>7.4168583023066009E-3</c:v>
                </c:pt>
                <c:pt idx="47">
                  <c:v>7.1551936514312473E-3</c:v>
                </c:pt>
                <c:pt idx="48">
                  <c:v>7.1463970932060666E-3</c:v>
                </c:pt>
                <c:pt idx="49">
                  <c:v>6.9228908148359957E-3</c:v>
                </c:pt>
                <c:pt idx="50">
                  <c:v>6.8493622241496462E-3</c:v>
                </c:pt>
                <c:pt idx="51">
                  <c:v>6.5995849573666733E-3</c:v>
                </c:pt>
                <c:pt idx="52">
                  <c:v>6.5740730509928754E-3</c:v>
                </c:pt>
                <c:pt idx="53">
                  <c:v>6.2292545759072221E-3</c:v>
                </c:pt>
                <c:pt idx="54">
                  <c:v>6.1993560169776854E-3</c:v>
                </c:pt>
                <c:pt idx="55">
                  <c:v>5.9441268269308217E-3</c:v>
                </c:pt>
                <c:pt idx="56">
                  <c:v>5.838308997666331E-3</c:v>
                </c:pt>
                <c:pt idx="57">
                  <c:v>5.2407128855910014E-3</c:v>
                </c:pt>
                <c:pt idx="58">
                  <c:v>4.9314363237827914E-3</c:v>
                </c:pt>
                <c:pt idx="59">
                  <c:v>4.9242122603528208E-3</c:v>
                </c:pt>
                <c:pt idx="60">
                  <c:v>4.6684426653942823E-3</c:v>
                </c:pt>
                <c:pt idx="61">
                  <c:v>4.6283362431988485E-3</c:v>
                </c:pt>
                <c:pt idx="62">
                  <c:v>4.613568665470049E-3</c:v>
                </c:pt>
                <c:pt idx="63">
                  <c:v>4.5407287112510268E-3</c:v>
                </c:pt>
                <c:pt idx="64">
                  <c:v>4.4032930162106656E-3</c:v>
                </c:pt>
                <c:pt idx="65">
                  <c:v>4.3317020899690233E-3</c:v>
                </c:pt>
                <c:pt idx="66">
                  <c:v>4.2013879749985732E-3</c:v>
                </c:pt>
                <c:pt idx="67">
                  <c:v>3.9635455804163935E-3</c:v>
                </c:pt>
                <c:pt idx="68">
                  <c:v>3.8082137550603306E-3</c:v>
                </c:pt>
                <c:pt idx="69">
                  <c:v>3.7862584723725662E-3</c:v>
                </c:pt>
                <c:pt idx="70">
                  <c:v>3.5202841458701231E-3</c:v>
                </c:pt>
                <c:pt idx="71">
                  <c:v>3.4308734213768129E-3</c:v>
                </c:pt>
                <c:pt idx="72">
                  <c:v>3.2381185176070539E-3</c:v>
                </c:pt>
                <c:pt idx="73">
                  <c:v>2.8942618248130199E-3</c:v>
                </c:pt>
                <c:pt idx="74">
                  <c:v>2.7879423092293546E-3</c:v>
                </c:pt>
                <c:pt idx="75">
                  <c:v>2.6194671030066231E-3</c:v>
                </c:pt>
                <c:pt idx="76">
                  <c:v>2.413707543849104E-3</c:v>
                </c:pt>
                <c:pt idx="77">
                  <c:v>2.3974236445279519E-3</c:v>
                </c:pt>
                <c:pt idx="78">
                  <c:v>1.8758951833924044E-3</c:v>
                </c:pt>
                <c:pt idx="79">
                  <c:v>1.8678442428472792E-3</c:v>
                </c:pt>
                <c:pt idx="80">
                  <c:v>1.1680257690040439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lang="en-US"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qua Protect Sport Spray FPS50+ 170g</c:v>
                </c:pt>
                <c:pt idx="60">
                  <c:v>Banana Boat Advanced Protection Sport Roll-on FPS50+ 75ml</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Banana Boat Dry Balance Sport Stick FPS50+ 40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655571205937444E-2</c:v>
                </c:pt>
                <c:pt idx="1">
                  <c:v>3.9904839583005385E-2</c:v>
                </c:pt>
                <c:pt idx="2">
                  <c:v>3.8616507778043437E-2</c:v>
                </c:pt>
                <c:pt idx="3">
                  <c:v>3.6216599873968587E-2</c:v>
                </c:pt>
                <c:pt idx="4">
                  <c:v>3.4203113103038849E-2</c:v>
                </c:pt>
                <c:pt idx="5">
                  <c:v>3.097071139704724E-2</c:v>
                </c:pt>
                <c:pt idx="6">
                  <c:v>3.0708113325975377E-2</c:v>
                </c:pt>
                <c:pt idx="7">
                  <c:v>2.884774420436485E-2</c:v>
                </c:pt>
                <c:pt idx="8">
                  <c:v>2.7963848167352551E-2</c:v>
                </c:pt>
                <c:pt idx="9">
                  <c:v>2.6317377312696164E-2</c:v>
                </c:pt>
                <c:pt idx="10">
                  <c:v>2.4915905077840247E-2</c:v>
                </c:pt>
                <c:pt idx="11">
                  <c:v>2.3041103033193261E-2</c:v>
                </c:pt>
                <c:pt idx="12">
                  <c:v>2.2799193253250978E-2</c:v>
                </c:pt>
                <c:pt idx="13">
                  <c:v>2.1017203132460409E-2</c:v>
                </c:pt>
                <c:pt idx="14">
                  <c:v>1.953308164087714E-2</c:v>
                </c:pt>
                <c:pt idx="15">
                  <c:v>1.9072513774179012E-2</c:v>
                </c:pt>
                <c:pt idx="16">
                  <c:v>1.8981053659303363E-2</c:v>
                </c:pt>
                <c:pt idx="17">
                  <c:v>1.8265271922368414E-2</c:v>
                </c:pt>
                <c:pt idx="18">
                  <c:v>1.808300373847985E-2</c:v>
                </c:pt>
                <c:pt idx="19">
                  <c:v>1.6535888399406392E-2</c:v>
                </c:pt>
                <c:pt idx="20">
                  <c:v>1.625574208539993E-2</c:v>
                </c:pt>
                <c:pt idx="21">
                  <c:v>1.5702852869952259E-2</c:v>
                </c:pt>
                <c:pt idx="22">
                  <c:v>1.3753956508551764E-2</c:v>
                </c:pt>
                <c:pt idx="23">
                  <c:v>1.3546049814052392E-2</c:v>
                </c:pt>
                <c:pt idx="24">
                  <c:v>1.3110332965049975E-2</c:v>
                </c:pt>
                <c:pt idx="25">
                  <c:v>1.2766874367818724E-2</c:v>
                </c:pt>
                <c:pt idx="26">
                  <c:v>1.25880356273269E-2</c:v>
                </c:pt>
                <c:pt idx="27">
                  <c:v>1.2539641633346334E-2</c:v>
                </c:pt>
                <c:pt idx="28">
                  <c:v>1.2170308596630789E-2</c:v>
                </c:pt>
                <c:pt idx="29">
                  <c:v>1.1319109028088786E-2</c:v>
                </c:pt>
                <c:pt idx="30">
                  <c:v>1.1293223756372945E-2</c:v>
                </c:pt>
                <c:pt idx="31">
                  <c:v>1.0914754971680844E-2</c:v>
                </c:pt>
                <c:pt idx="32">
                  <c:v>1.0569061964881676E-2</c:v>
                </c:pt>
                <c:pt idx="33">
                  <c:v>1.0365651986564091E-2</c:v>
                </c:pt>
                <c:pt idx="34">
                  <c:v>1.0185968239828015E-2</c:v>
                </c:pt>
                <c:pt idx="35">
                  <c:v>9.9313437093297117E-3</c:v>
                </c:pt>
                <c:pt idx="36">
                  <c:v>9.8306300146068122E-3</c:v>
                </c:pt>
                <c:pt idx="37">
                  <c:v>9.2229760145852574E-3</c:v>
                </c:pt>
                <c:pt idx="38">
                  <c:v>9.2062176780847976E-3</c:v>
                </c:pt>
                <c:pt idx="39">
                  <c:v>8.8624414316904928E-3</c:v>
                </c:pt>
                <c:pt idx="40">
                  <c:v>8.7334614846154845E-3</c:v>
                </c:pt>
                <c:pt idx="41">
                  <c:v>8.4512069663159797E-3</c:v>
                </c:pt>
                <c:pt idx="42">
                  <c:v>8.2912862294845149E-3</c:v>
                </c:pt>
                <c:pt idx="43">
                  <c:v>8.0364307389402811E-3</c:v>
                </c:pt>
                <c:pt idx="44">
                  <c:v>7.9321837218810434E-3</c:v>
                </c:pt>
                <c:pt idx="45">
                  <c:v>7.7477490184242222E-3</c:v>
                </c:pt>
                <c:pt idx="46">
                  <c:v>7.5142301539078563E-3</c:v>
                </c:pt>
                <c:pt idx="47">
                  <c:v>7.1723199714843937E-3</c:v>
                </c:pt>
                <c:pt idx="48">
                  <c:v>6.95411993105839E-3</c:v>
                </c:pt>
                <c:pt idx="49">
                  <c:v>6.8847845571704891E-3</c:v>
                </c:pt>
                <c:pt idx="50">
                  <c:v>6.6596558088171673E-3</c:v>
                </c:pt>
                <c:pt idx="51">
                  <c:v>6.5945733028956767E-3</c:v>
                </c:pt>
                <c:pt idx="52">
                  <c:v>6.3155257656914423E-3</c:v>
                </c:pt>
                <c:pt idx="53">
                  <c:v>6.2337379436155733E-3</c:v>
                </c:pt>
                <c:pt idx="54">
                  <c:v>5.9634431321481532E-3</c:v>
                </c:pt>
                <c:pt idx="55">
                  <c:v>5.8541751902912781E-3</c:v>
                </c:pt>
                <c:pt idx="56">
                  <c:v>5.2867376001584712E-3</c:v>
                </c:pt>
                <c:pt idx="57">
                  <c:v>4.9623358387647937E-3</c:v>
                </c:pt>
                <c:pt idx="58">
                  <c:v>4.9622807731952781E-3</c:v>
                </c:pt>
                <c:pt idx="59">
                  <c:v>4.6914563307351711E-3</c:v>
                </c:pt>
                <c:pt idx="60">
                  <c:v>4.6890342176239578E-3</c:v>
                </c:pt>
                <c:pt idx="61">
                  <c:v>4.6257646765124807E-3</c:v>
                </c:pt>
                <c:pt idx="62">
                  <c:v>4.5577545992236306E-3</c:v>
                </c:pt>
                <c:pt idx="63">
                  <c:v>4.4321895523697198E-3</c:v>
                </c:pt>
                <c:pt idx="64">
                  <c:v>4.3747896212100118E-3</c:v>
                </c:pt>
                <c:pt idx="65">
                  <c:v>4.2161622123242908E-3</c:v>
                </c:pt>
                <c:pt idx="66">
                  <c:v>4.0065996062692627E-3</c:v>
                </c:pt>
                <c:pt idx="67">
                  <c:v>3.819561274326188E-3</c:v>
                </c:pt>
                <c:pt idx="68">
                  <c:v>3.8132315031243389E-3</c:v>
                </c:pt>
                <c:pt idx="69">
                  <c:v>3.5305766087067683E-3</c:v>
                </c:pt>
                <c:pt idx="70">
                  <c:v>3.4551607483256056E-3</c:v>
                </c:pt>
                <c:pt idx="71">
                  <c:v>3.2711625205730454E-3</c:v>
                </c:pt>
                <c:pt idx="72">
                  <c:v>2.9082295737572171E-3</c:v>
                </c:pt>
                <c:pt idx="73">
                  <c:v>2.8028538752970606E-3</c:v>
                </c:pt>
                <c:pt idx="74">
                  <c:v>2.6323817897702302E-3</c:v>
                </c:pt>
                <c:pt idx="75">
                  <c:v>2.4249043171753319E-3</c:v>
                </c:pt>
                <c:pt idx="76">
                  <c:v>2.4134284738650063E-3</c:v>
                </c:pt>
                <c:pt idx="77">
                  <c:v>2.0674150094883072E-3</c:v>
                </c:pt>
                <c:pt idx="78">
                  <c:v>1.8837685030311899E-3</c:v>
                </c:pt>
                <c:pt idx="79">
                  <c:v>1.8760794133383491E-3</c:v>
                </c:pt>
                <c:pt idx="80">
                  <c:v>1.1734405974608184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006C6D"/>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r>
                      <a:rPr lang="it-IT"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Argan Spray FPS15 220ml</c:v>
                </c:pt>
                <c:pt idx="58">
                  <c:v>Hawaiian Tropic Island Sport Spray FPS50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Banana Boat Dry Balance Sport Aerosol FPS50+ 2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565192811287906E-2</c:v>
                </c:pt>
                <c:pt idx="1">
                  <c:v>3.9847039739139174E-2</c:v>
                </c:pt>
                <c:pt idx="2">
                  <c:v>3.8565093914451204E-2</c:v>
                </c:pt>
                <c:pt idx="3">
                  <c:v>3.6179060054134182E-2</c:v>
                </c:pt>
                <c:pt idx="4">
                  <c:v>3.4138711687364626E-2</c:v>
                </c:pt>
                <c:pt idx="5">
                  <c:v>3.0952032041357751E-2</c:v>
                </c:pt>
                <c:pt idx="6">
                  <c:v>3.0644884814399084E-2</c:v>
                </c:pt>
                <c:pt idx="7">
                  <c:v>2.88160272646939E-2</c:v>
                </c:pt>
                <c:pt idx="8">
                  <c:v>2.7917753322502414E-2</c:v>
                </c:pt>
                <c:pt idx="9">
                  <c:v>2.630410667207728E-2</c:v>
                </c:pt>
                <c:pt idx="10">
                  <c:v>2.4910357822134108E-2</c:v>
                </c:pt>
                <c:pt idx="11">
                  <c:v>2.3001520404544826E-2</c:v>
                </c:pt>
                <c:pt idx="12">
                  <c:v>2.272261023766654E-2</c:v>
                </c:pt>
                <c:pt idx="13">
                  <c:v>2.0976040801835759E-2</c:v>
                </c:pt>
                <c:pt idx="14">
                  <c:v>1.9506785849114385E-2</c:v>
                </c:pt>
                <c:pt idx="15">
                  <c:v>1.9041428383455055E-2</c:v>
                </c:pt>
                <c:pt idx="16">
                  <c:v>1.898563751230305E-2</c:v>
                </c:pt>
                <c:pt idx="17">
                  <c:v>1.8250089895478036E-2</c:v>
                </c:pt>
                <c:pt idx="18">
                  <c:v>1.8075775267695254E-2</c:v>
                </c:pt>
                <c:pt idx="19">
                  <c:v>1.6520766742108249E-2</c:v>
                </c:pt>
                <c:pt idx="20">
                  <c:v>1.6257993655310284E-2</c:v>
                </c:pt>
                <c:pt idx="21">
                  <c:v>1.5674272527604421E-2</c:v>
                </c:pt>
                <c:pt idx="22">
                  <c:v>1.3728436284877941E-2</c:v>
                </c:pt>
                <c:pt idx="23">
                  <c:v>1.3540020009246966E-2</c:v>
                </c:pt>
                <c:pt idx="24">
                  <c:v>1.3096007350138338E-2</c:v>
                </c:pt>
                <c:pt idx="25">
                  <c:v>1.2769249456715724E-2</c:v>
                </c:pt>
                <c:pt idx="26">
                  <c:v>1.2594677357595317E-2</c:v>
                </c:pt>
                <c:pt idx="27">
                  <c:v>1.2528764045710988E-2</c:v>
                </c:pt>
                <c:pt idx="28">
                  <c:v>1.2157474459066371E-2</c:v>
                </c:pt>
                <c:pt idx="29">
                  <c:v>1.1307202969598038E-2</c:v>
                </c:pt>
                <c:pt idx="30">
                  <c:v>1.1245952307283303E-2</c:v>
                </c:pt>
                <c:pt idx="31">
                  <c:v>1.0908343007721248E-2</c:v>
                </c:pt>
                <c:pt idx="32">
                  <c:v>1.0561406160165064E-2</c:v>
                </c:pt>
                <c:pt idx="33">
                  <c:v>1.0349622210997736E-2</c:v>
                </c:pt>
                <c:pt idx="34">
                  <c:v>1.0181662596797645E-2</c:v>
                </c:pt>
                <c:pt idx="35">
                  <c:v>9.924261208941158E-3</c:v>
                </c:pt>
                <c:pt idx="36">
                  <c:v>9.8200240153192373E-3</c:v>
                </c:pt>
                <c:pt idx="37">
                  <c:v>9.2135625092948804E-3</c:v>
                </c:pt>
                <c:pt idx="38">
                  <c:v>9.2053756081203041E-3</c:v>
                </c:pt>
                <c:pt idx="39">
                  <c:v>8.8543503149685222E-3</c:v>
                </c:pt>
                <c:pt idx="40">
                  <c:v>8.7302777550077853E-3</c:v>
                </c:pt>
                <c:pt idx="41">
                  <c:v>8.4440488994979648E-3</c:v>
                </c:pt>
                <c:pt idx="42">
                  <c:v>8.2990067018248615E-3</c:v>
                </c:pt>
                <c:pt idx="43">
                  <c:v>8.0200786014784572E-3</c:v>
                </c:pt>
                <c:pt idx="44">
                  <c:v>7.9330243604720362E-3</c:v>
                </c:pt>
                <c:pt idx="45">
                  <c:v>7.7489346631698913E-3</c:v>
                </c:pt>
                <c:pt idx="46">
                  <c:v>7.4960844578642006E-3</c:v>
                </c:pt>
                <c:pt idx="47">
                  <c:v>7.1686213882875029E-3</c:v>
                </c:pt>
                <c:pt idx="48">
                  <c:v>6.9473562398206313E-3</c:v>
                </c:pt>
                <c:pt idx="49">
                  <c:v>6.8685726694594409E-3</c:v>
                </c:pt>
                <c:pt idx="50">
                  <c:v>6.6346754705291829E-3</c:v>
                </c:pt>
                <c:pt idx="51">
                  <c:v>6.5952735524189565E-3</c:v>
                </c:pt>
                <c:pt idx="52">
                  <c:v>6.3001151347849057E-3</c:v>
                </c:pt>
                <c:pt idx="53">
                  <c:v>6.2268761031639272E-3</c:v>
                </c:pt>
                <c:pt idx="54">
                  <c:v>5.9614454083032073E-3</c:v>
                </c:pt>
                <c:pt idx="55">
                  <c:v>5.8540956163957748E-3</c:v>
                </c:pt>
                <c:pt idx="56">
                  <c:v>5.2748670802958246E-3</c:v>
                </c:pt>
                <c:pt idx="57">
                  <c:v>4.9529135117758142E-3</c:v>
                </c:pt>
                <c:pt idx="58">
                  <c:v>4.9485979698833411E-3</c:v>
                </c:pt>
                <c:pt idx="59">
                  <c:v>4.7220746755521053E-3</c:v>
                </c:pt>
                <c:pt idx="60">
                  <c:v>4.6588103897273348E-3</c:v>
                </c:pt>
                <c:pt idx="61">
                  <c:v>4.6233791431244831E-3</c:v>
                </c:pt>
                <c:pt idx="62">
                  <c:v>4.557887069784541E-3</c:v>
                </c:pt>
                <c:pt idx="63">
                  <c:v>4.4246504068513881E-3</c:v>
                </c:pt>
                <c:pt idx="64">
                  <c:v>4.3657901555401359E-3</c:v>
                </c:pt>
                <c:pt idx="65">
                  <c:v>4.2206037801847691E-3</c:v>
                </c:pt>
                <c:pt idx="66">
                  <c:v>3.9956734590901192E-3</c:v>
                </c:pt>
                <c:pt idx="67">
                  <c:v>3.8187615802895776E-3</c:v>
                </c:pt>
                <c:pt idx="68">
                  <c:v>3.8125783784184004E-3</c:v>
                </c:pt>
                <c:pt idx="69">
                  <c:v>3.5277494754726827E-3</c:v>
                </c:pt>
                <c:pt idx="70">
                  <c:v>3.4540430444139577E-3</c:v>
                </c:pt>
                <c:pt idx="71">
                  <c:v>3.2687468041962598E-3</c:v>
                </c:pt>
                <c:pt idx="72">
                  <c:v>3.1866375809872149E-3</c:v>
                </c:pt>
                <c:pt idx="73">
                  <c:v>2.9072222984146815E-3</c:v>
                </c:pt>
                <c:pt idx="74">
                  <c:v>2.8016118990728026E-3</c:v>
                </c:pt>
                <c:pt idx="75">
                  <c:v>2.6325132400397576E-3</c:v>
                </c:pt>
                <c:pt idx="76">
                  <c:v>2.4260553061094441E-3</c:v>
                </c:pt>
                <c:pt idx="77">
                  <c:v>2.4163737457175505E-3</c:v>
                </c:pt>
                <c:pt idx="78">
                  <c:v>1.8847104012258491E-3</c:v>
                </c:pt>
                <c:pt idx="79">
                  <c:v>1.8770366478506667E-3</c:v>
                </c:pt>
                <c:pt idx="80">
                  <c:v>1.172651640285866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006C6D"/>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7ECAC4"/>
              </a:solidFill>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7ECAC4"/>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r>
                      <a:rPr lang="sv-SE"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Banana Boat Sport Lotion FPS50+ 354ml</c:v>
                </c:pt>
                <c:pt idx="6">
                  <c:v>Nivea Sun Protection &amp; Hydration Lotion FPS50+ 125ml</c:v>
                </c:pt>
                <c:pt idx="7">
                  <c:v>Hawaiian Tropic Ozono Lotion FPS50+ 240ml</c:v>
                </c:pt>
                <c:pt idx="8">
                  <c:v>Caribbean Beach Sport Cream FPS50+ 250g</c:v>
                </c:pt>
                <c:pt idx="9">
                  <c:v>Hawaiian Tropic Island Sport Lotion FPS50 240ml</c:v>
                </c:pt>
                <c:pt idx="10">
                  <c:v>Caribbean Beach Ultra Cream FPS50+ 250g</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Nivea Sun Face Stain Control FPS50+ 40ml</c:v>
                </c:pt>
                <c:pt idx="45">
                  <c:v>Banana Boat Kids Sport Lotion FPS50 18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3989242646304151E-2</c:v>
                </c:pt>
                <c:pt idx="1">
                  <c:v>3.8748764318583269E-2</c:v>
                </c:pt>
                <c:pt idx="2">
                  <c:v>3.5756440989133408E-2</c:v>
                </c:pt>
                <c:pt idx="3">
                  <c:v>3.5290859527379828E-2</c:v>
                </c:pt>
                <c:pt idx="4">
                  <c:v>3.2314375965008323E-2</c:v>
                </c:pt>
                <c:pt idx="5">
                  <c:v>3.1944904622885496E-2</c:v>
                </c:pt>
                <c:pt idx="6">
                  <c:v>3.0413426176993403E-2</c:v>
                </c:pt>
                <c:pt idx="7">
                  <c:v>2.9202318773337326E-2</c:v>
                </c:pt>
                <c:pt idx="8">
                  <c:v>2.7895852406476861E-2</c:v>
                </c:pt>
                <c:pt idx="9">
                  <c:v>2.5799729573194718E-2</c:v>
                </c:pt>
                <c:pt idx="10">
                  <c:v>2.5706854709069592E-2</c:v>
                </c:pt>
                <c:pt idx="11">
                  <c:v>2.4705377596556756E-2</c:v>
                </c:pt>
                <c:pt idx="12">
                  <c:v>2.2418259366978964E-2</c:v>
                </c:pt>
                <c:pt idx="13">
                  <c:v>2.1742736695174198E-2</c:v>
                </c:pt>
                <c:pt idx="14">
                  <c:v>1.9770852071223755E-2</c:v>
                </c:pt>
                <c:pt idx="15">
                  <c:v>1.9296083702967821E-2</c:v>
                </c:pt>
                <c:pt idx="16">
                  <c:v>1.873287595559581E-2</c:v>
                </c:pt>
                <c:pt idx="17">
                  <c:v>1.8286890279615723E-2</c:v>
                </c:pt>
                <c:pt idx="18">
                  <c:v>1.766455380789516E-2</c:v>
                </c:pt>
                <c:pt idx="19">
                  <c:v>1.760220051402047E-2</c:v>
                </c:pt>
                <c:pt idx="20">
                  <c:v>1.6155705726254934E-2</c:v>
                </c:pt>
                <c:pt idx="21">
                  <c:v>1.5991035957981684E-2</c:v>
                </c:pt>
                <c:pt idx="22">
                  <c:v>1.4932119514645029E-2</c:v>
                </c:pt>
                <c:pt idx="23">
                  <c:v>1.3420900950616665E-2</c:v>
                </c:pt>
                <c:pt idx="24">
                  <c:v>1.3183709394478939E-2</c:v>
                </c:pt>
                <c:pt idx="25">
                  <c:v>1.2804526174448586E-2</c:v>
                </c:pt>
                <c:pt idx="26">
                  <c:v>1.247146832324072E-2</c:v>
                </c:pt>
                <c:pt idx="27">
                  <c:v>1.244086075635146E-2</c:v>
                </c:pt>
                <c:pt idx="28">
                  <c:v>1.2393214428760228E-2</c:v>
                </c:pt>
                <c:pt idx="29">
                  <c:v>1.1898492213692585E-2</c:v>
                </c:pt>
                <c:pt idx="30">
                  <c:v>1.1154870741073551E-2</c:v>
                </c:pt>
                <c:pt idx="31">
                  <c:v>1.0993581082033424E-2</c:v>
                </c:pt>
                <c:pt idx="32">
                  <c:v>1.0737078819399547E-2</c:v>
                </c:pt>
                <c:pt idx="33">
                  <c:v>1.0414904281833235E-2</c:v>
                </c:pt>
                <c:pt idx="34">
                  <c:v>1.0048071276734375E-2</c:v>
                </c:pt>
                <c:pt idx="35">
                  <c:v>1.0002549351240952E-2</c:v>
                </c:pt>
                <c:pt idx="36">
                  <c:v>9.805653416485538E-3</c:v>
                </c:pt>
                <c:pt idx="37">
                  <c:v>9.6309142384593642E-3</c:v>
                </c:pt>
                <c:pt idx="38">
                  <c:v>9.110053980572826E-3</c:v>
                </c:pt>
                <c:pt idx="39">
                  <c:v>8.8531335684209952E-3</c:v>
                </c:pt>
                <c:pt idx="40">
                  <c:v>8.7073319928942829E-3</c:v>
                </c:pt>
                <c:pt idx="41">
                  <c:v>8.6225173671800309E-3</c:v>
                </c:pt>
                <c:pt idx="42">
                  <c:v>8.297284554203874E-3</c:v>
                </c:pt>
                <c:pt idx="43">
                  <c:v>8.1812843595308916E-3</c:v>
                </c:pt>
                <c:pt idx="44">
                  <c:v>7.8487335302889413E-3</c:v>
                </c:pt>
                <c:pt idx="45">
                  <c:v>7.8265714881072725E-3</c:v>
                </c:pt>
                <c:pt idx="46">
                  <c:v>7.6086654996959172E-3</c:v>
                </c:pt>
                <c:pt idx="47">
                  <c:v>7.1210104837850395E-3</c:v>
                </c:pt>
                <c:pt idx="48">
                  <c:v>7.0816428533417549E-3</c:v>
                </c:pt>
                <c:pt idx="49">
                  <c:v>6.8210829218318539E-3</c:v>
                </c:pt>
                <c:pt idx="50">
                  <c:v>6.6906289198286721E-3</c:v>
                </c:pt>
                <c:pt idx="51">
                  <c:v>6.4768958033637695E-3</c:v>
                </c:pt>
                <c:pt idx="52">
                  <c:v>6.4222268937780139E-3</c:v>
                </c:pt>
                <c:pt idx="53">
                  <c:v>6.048597539913823E-3</c:v>
                </c:pt>
                <c:pt idx="54">
                  <c:v>6.048498386827879E-3</c:v>
                </c:pt>
                <c:pt idx="55">
                  <c:v>5.8502413582845652E-3</c:v>
                </c:pt>
                <c:pt idx="56">
                  <c:v>5.7860783138386773E-3</c:v>
                </c:pt>
                <c:pt idx="57">
                  <c:v>5.1093754090289108E-3</c:v>
                </c:pt>
                <c:pt idx="58">
                  <c:v>4.8245451875681281E-3</c:v>
                </c:pt>
                <c:pt idx="59">
                  <c:v>4.8217218934323083E-3</c:v>
                </c:pt>
                <c:pt idx="60">
                  <c:v>4.597913731795758E-3</c:v>
                </c:pt>
                <c:pt idx="61">
                  <c:v>4.5933636996443889E-3</c:v>
                </c:pt>
                <c:pt idx="62">
                  <c:v>4.5507547277511802E-3</c:v>
                </c:pt>
                <c:pt idx="63">
                  <c:v>4.504983391213007E-3</c:v>
                </c:pt>
                <c:pt idx="64">
                  <c:v>4.3270177793645476E-3</c:v>
                </c:pt>
                <c:pt idx="65">
                  <c:v>4.2466008911477395E-3</c:v>
                </c:pt>
                <c:pt idx="66">
                  <c:v>4.1733052427275E-3</c:v>
                </c:pt>
                <c:pt idx="67">
                  <c:v>3.8778480238369256E-3</c:v>
                </c:pt>
                <c:pt idx="68">
                  <c:v>3.7822509174981213E-3</c:v>
                </c:pt>
                <c:pt idx="69">
                  <c:v>3.7177321320265751E-3</c:v>
                </c:pt>
                <c:pt idx="70">
                  <c:v>3.501905727508648E-3</c:v>
                </c:pt>
                <c:pt idx="71">
                  <c:v>3.3449036485977994E-3</c:v>
                </c:pt>
                <c:pt idx="72">
                  <c:v>3.1367920210805555E-3</c:v>
                </c:pt>
                <c:pt idx="73">
                  <c:v>2.848222582871345E-3</c:v>
                </c:pt>
                <c:pt idx="74">
                  <c:v>2.7439090254203955E-3</c:v>
                </c:pt>
                <c:pt idx="75">
                  <c:v>2.5725066059706435E-3</c:v>
                </c:pt>
                <c:pt idx="76">
                  <c:v>2.3916710122230543E-3</c:v>
                </c:pt>
                <c:pt idx="77">
                  <c:v>2.3647634989735827E-3</c:v>
                </c:pt>
                <c:pt idx="78">
                  <c:v>1.8353155663238274E-3</c:v>
                </c:pt>
                <c:pt idx="79">
                  <c:v>1.8215782904956563E-3</c:v>
                </c:pt>
                <c:pt idx="80">
                  <c:v>1.1462828316850073E-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88786410875304</c:v>
                </c:pt>
                <c:pt idx="1">
                  <c:v>101.0070231163603</c:v>
                </c:pt>
                <c:pt idx="2">
                  <c:v>101.38443669868957</c:v>
                </c:pt>
                <c:pt idx="3">
                  <c:v>111.8921096425028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3.73212727219179</c:v>
                </c:pt>
                <c:pt idx="1">
                  <c:v>100.97858258963646</c:v>
                </c:pt>
                <c:pt idx="2">
                  <c:v>101.81186178068646</c:v>
                </c:pt>
                <c:pt idx="3">
                  <c:v>115.899540872789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3.81618085204364</c:v>
                </c:pt>
                <c:pt idx="1">
                  <c:v>100.85918134818819</c:v>
                </c:pt>
                <c:pt idx="2">
                  <c:v>101.95950014814656</c:v>
                </c:pt>
                <c:pt idx="3">
                  <c:v>111.622641384176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6.8620556962750295E-2</c:v>
                </c:pt>
                <c:pt idx="1">
                  <c:v>7.0997141392882143E-2</c:v>
                </c:pt>
                <c:pt idx="2">
                  <c:v>4.4630255246401858E-2</c:v>
                </c:pt>
                <c:pt idx="3">
                  <c:v>4.9836154915509245E-2</c:v>
                </c:pt>
                <c:pt idx="4">
                  <c:v>3.9486328439058638E-2</c:v>
                </c:pt>
                <c:pt idx="5">
                  <c:v>3.9219922528463638E-2</c:v>
                </c:pt>
                <c:pt idx="6">
                  <c:v>3.6149032042421654E-2</c:v>
                </c:pt>
                <c:pt idx="7">
                  <c:v>4.0741352251419741E-2</c:v>
                </c:pt>
                <c:pt idx="8">
                  <c:v>3.449737410726831E-2</c:v>
                </c:pt>
                <c:pt idx="9">
                  <c:v>3.0616326544021188E-2</c:v>
                </c:pt>
                <c:pt idx="10">
                  <c:v>2.6174335506184053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3929213099282132E-2</c:v>
                </c:pt>
                <c:pt idx="1">
                  <c:v>4.9736894737760023E-2</c:v>
                </c:pt>
                <c:pt idx="2">
                  <c:v>3.2979884556257104E-2</c:v>
                </c:pt>
                <c:pt idx="3">
                  <c:v>3.5951742522797925E-2</c:v>
                </c:pt>
                <c:pt idx="4">
                  <c:v>2.4526703958025253E-2</c:v>
                </c:pt>
                <c:pt idx="5">
                  <c:v>2.6780428404012901E-2</c:v>
                </c:pt>
                <c:pt idx="6">
                  <c:v>2.3432077276797175E-2</c:v>
                </c:pt>
                <c:pt idx="7">
                  <c:v>1.8165234056443946E-2</c:v>
                </c:pt>
                <c:pt idx="8">
                  <c:v>3.8078795024296716E-2</c:v>
                </c:pt>
                <c:pt idx="9">
                  <c:v>3.5407053398616946E-2</c:v>
                </c:pt>
                <c:pt idx="10">
                  <c:v>2.946228595671476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006C6D"/>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r>
                      <a:rPr lang="en-US"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Banana Boat Baby Lotion FPS50+ 177ml</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6.5584946160074375E-2</c:v>
                </c:pt>
                <c:pt idx="1">
                  <c:v>3.9874833682032082E-2</c:v>
                </c:pt>
                <c:pt idx="2">
                  <c:v>3.8564174328379379E-2</c:v>
                </c:pt>
                <c:pt idx="3">
                  <c:v>3.6182108822241155E-2</c:v>
                </c:pt>
                <c:pt idx="4">
                  <c:v>3.4171306057848377E-2</c:v>
                </c:pt>
                <c:pt idx="5">
                  <c:v>3.0945913721363315E-2</c:v>
                </c:pt>
                <c:pt idx="6">
                  <c:v>3.067433282153326E-2</c:v>
                </c:pt>
                <c:pt idx="7">
                  <c:v>2.8812070600651864E-2</c:v>
                </c:pt>
                <c:pt idx="8">
                  <c:v>2.7931932315598096E-2</c:v>
                </c:pt>
                <c:pt idx="9">
                  <c:v>2.6298880823753278E-2</c:v>
                </c:pt>
                <c:pt idx="10">
                  <c:v>2.4897719082619948E-2</c:v>
                </c:pt>
                <c:pt idx="11">
                  <c:v>2.3020089770052495E-2</c:v>
                </c:pt>
                <c:pt idx="12">
                  <c:v>2.2737972650639354E-2</c:v>
                </c:pt>
                <c:pt idx="13">
                  <c:v>2.0970226142318166E-2</c:v>
                </c:pt>
                <c:pt idx="14">
                  <c:v>1.9509543774090372E-2</c:v>
                </c:pt>
                <c:pt idx="15">
                  <c:v>1.9049884048099812E-2</c:v>
                </c:pt>
                <c:pt idx="16">
                  <c:v>1.8976039197726842E-2</c:v>
                </c:pt>
                <c:pt idx="17">
                  <c:v>1.8257431411329308E-2</c:v>
                </c:pt>
                <c:pt idx="18">
                  <c:v>1.8071063237694134E-2</c:v>
                </c:pt>
                <c:pt idx="19">
                  <c:v>1.6517791068232011E-2</c:v>
                </c:pt>
                <c:pt idx="20">
                  <c:v>1.6253525899299775E-2</c:v>
                </c:pt>
                <c:pt idx="21">
                  <c:v>1.5660118420431413E-2</c:v>
                </c:pt>
                <c:pt idx="22">
                  <c:v>1.3742761281852657E-2</c:v>
                </c:pt>
                <c:pt idx="23">
                  <c:v>1.3527978454323325E-2</c:v>
                </c:pt>
                <c:pt idx="24">
                  <c:v>1.3101003632975597E-2</c:v>
                </c:pt>
                <c:pt idx="25">
                  <c:v>1.2763022573418945E-2</c:v>
                </c:pt>
                <c:pt idx="26">
                  <c:v>1.2584106836176903E-2</c:v>
                </c:pt>
                <c:pt idx="27">
                  <c:v>1.2528542953608621E-2</c:v>
                </c:pt>
                <c:pt idx="28">
                  <c:v>1.2163871560051982E-2</c:v>
                </c:pt>
                <c:pt idx="29">
                  <c:v>1.1310333150253447E-2</c:v>
                </c:pt>
                <c:pt idx="30">
                  <c:v>1.1299058835567097E-2</c:v>
                </c:pt>
                <c:pt idx="31">
                  <c:v>1.090795067620931E-2</c:v>
                </c:pt>
                <c:pt idx="32">
                  <c:v>1.0560162651063453E-2</c:v>
                </c:pt>
                <c:pt idx="33">
                  <c:v>1.0361455361628585E-2</c:v>
                </c:pt>
                <c:pt idx="34">
                  <c:v>1.0180346005589494E-2</c:v>
                </c:pt>
                <c:pt idx="35">
                  <c:v>9.9215698239506229E-3</c:v>
                </c:pt>
                <c:pt idx="36">
                  <c:v>9.8242378961823883E-3</c:v>
                </c:pt>
                <c:pt idx="37">
                  <c:v>9.2116028713281235E-3</c:v>
                </c:pt>
                <c:pt idx="38">
                  <c:v>9.2048649985209847E-3</c:v>
                </c:pt>
                <c:pt idx="39">
                  <c:v>8.8566696122347587E-3</c:v>
                </c:pt>
                <c:pt idx="40">
                  <c:v>8.7293128246835432E-3</c:v>
                </c:pt>
                <c:pt idx="41">
                  <c:v>8.4456371825983555E-3</c:v>
                </c:pt>
                <c:pt idx="42">
                  <c:v>8.2905516569508481E-3</c:v>
                </c:pt>
                <c:pt idx="43">
                  <c:v>8.0245085619159804E-3</c:v>
                </c:pt>
                <c:pt idx="44">
                  <c:v>7.9293904774486515E-3</c:v>
                </c:pt>
                <c:pt idx="45">
                  <c:v>7.7450055976506626E-3</c:v>
                </c:pt>
                <c:pt idx="46">
                  <c:v>7.4981236664395119E-3</c:v>
                </c:pt>
                <c:pt idx="47">
                  <c:v>7.1714288022484045E-3</c:v>
                </c:pt>
                <c:pt idx="48">
                  <c:v>6.9534007298358048E-3</c:v>
                </c:pt>
                <c:pt idx="49">
                  <c:v>6.8785771539321599E-3</c:v>
                </c:pt>
                <c:pt idx="50">
                  <c:v>6.6519551632926591E-3</c:v>
                </c:pt>
                <c:pt idx="51">
                  <c:v>6.5919676083467408E-3</c:v>
                </c:pt>
                <c:pt idx="52">
                  <c:v>6.3070256910099636E-3</c:v>
                </c:pt>
                <c:pt idx="53">
                  <c:v>6.2259728482099595E-3</c:v>
                </c:pt>
                <c:pt idx="54">
                  <c:v>5.9605888708680072E-3</c:v>
                </c:pt>
                <c:pt idx="55">
                  <c:v>5.8536100492481216E-3</c:v>
                </c:pt>
                <c:pt idx="56">
                  <c:v>5.2775673443325151E-3</c:v>
                </c:pt>
                <c:pt idx="57">
                  <c:v>4.9597188625206496E-3</c:v>
                </c:pt>
                <c:pt idx="58">
                  <c:v>4.9588074363871E-3</c:v>
                </c:pt>
                <c:pt idx="59">
                  <c:v>4.7282984527926243E-3</c:v>
                </c:pt>
                <c:pt idx="60">
                  <c:v>4.6892163106570092E-3</c:v>
                </c:pt>
                <c:pt idx="61">
                  <c:v>4.6269074488768849E-3</c:v>
                </c:pt>
                <c:pt idx="62">
                  <c:v>4.5601566745020411E-3</c:v>
                </c:pt>
                <c:pt idx="63">
                  <c:v>4.4308142008590064E-3</c:v>
                </c:pt>
                <c:pt idx="64">
                  <c:v>4.3670009673519115E-3</c:v>
                </c:pt>
                <c:pt idx="65">
                  <c:v>4.2209576993760397E-3</c:v>
                </c:pt>
                <c:pt idx="66">
                  <c:v>4.0006196966639648E-3</c:v>
                </c:pt>
                <c:pt idx="67">
                  <c:v>3.8205138183087226E-3</c:v>
                </c:pt>
                <c:pt idx="68">
                  <c:v>3.8183694217969679E-3</c:v>
                </c:pt>
                <c:pt idx="69">
                  <c:v>3.5312216378341741E-3</c:v>
                </c:pt>
                <c:pt idx="70">
                  <c:v>3.4563758757310144E-3</c:v>
                </c:pt>
                <c:pt idx="71">
                  <c:v>3.268178204977643E-3</c:v>
                </c:pt>
                <c:pt idx="72">
                  <c:v>2.9061881996264357E-3</c:v>
                </c:pt>
                <c:pt idx="73">
                  <c:v>2.8936795745349172E-3</c:v>
                </c:pt>
                <c:pt idx="74">
                  <c:v>2.8033859422881111E-3</c:v>
                </c:pt>
                <c:pt idx="75">
                  <c:v>2.6315694155659313E-3</c:v>
                </c:pt>
                <c:pt idx="76">
                  <c:v>2.4273609085479365E-3</c:v>
                </c:pt>
                <c:pt idx="77">
                  <c:v>2.4196009718551854E-3</c:v>
                </c:pt>
                <c:pt idx="78">
                  <c:v>1.8850142198930386E-3</c:v>
                </c:pt>
                <c:pt idx="79">
                  <c:v>1.8773447712429629E-3</c:v>
                </c:pt>
                <c:pt idx="80">
                  <c:v>1.1726318478528059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7.2299685609917716E-2</c:v>
                </c:pt>
                <c:pt idx="1">
                  <c:v>6.9643985129031916E-2</c:v>
                </c:pt>
                <c:pt idx="2">
                  <c:v>5.0627437399616067E-2</c:v>
                </c:pt>
                <c:pt idx="3">
                  <c:v>5.5644166955480016E-2</c:v>
                </c:pt>
                <c:pt idx="4">
                  <c:v>4.1432593675998081E-2</c:v>
                </c:pt>
                <c:pt idx="5">
                  <c:v>3.5214352533653119E-2</c:v>
                </c:pt>
                <c:pt idx="6">
                  <c:v>3.3349646286375635E-2</c:v>
                </c:pt>
                <c:pt idx="7">
                  <c:v>2.6388062430952649E-2</c:v>
                </c:pt>
                <c:pt idx="8">
                  <c:v>3.9886705351722139E-2</c:v>
                </c:pt>
                <c:pt idx="9">
                  <c:v>2.7733988552851939E-2</c:v>
                </c:pt>
                <c:pt idx="10">
                  <c:v>2.584063402252934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5.5163568494273826E-2</c:v>
                </c:pt>
                <c:pt idx="1">
                  <c:v>7.8536953549584593E-2</c:v>
                </c:pt>
                <c:pt idx="2">
                  <c:v>6.512644765994334E-2</c:v>
                </c:pt>
                <c:pt idx="3">
                  <c:v>4.5312922746471328E-2</c:v>
                </c:pt>
                <c:pt idx="4">
                  <c:v>7.7744317428973808E-2</c:v>
                </c:pt>
                <c:pt idx="5">
                  <c:v>7.3939379417297835E-2</c:v>
                </c:pt>
                <c:pt idx="6">
                  <c:v>4.3633210627282468E-2</c:v>
                </c:pt>
                <c:pt idx="7">
                  <c:v>4.7437075673777605E-2</c:v>
                </c:pt>
                <c:pt idx="8">
                  <c:v>1.2328554323097693E-2</c:v>
                </c:pt>
                <c:pt idx="9">
                  <c:v>2.5946539087843754E-2</c:v>
                </c:pt>
                <c:pt idx="10">
                  <c:v>3.1219033865078162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2755078813047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3020479888651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2843366454539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6.6624431723445482E-2</c:v>
                </c:pt>
                <c:pt idx="1">
                  <c:v>6.439001519593851E-2</c:v>
                </c:pt>
                <c:pt idx="2">
                  <c:v>5.4941918903599514E-2</c:v>
                </c:pt>
                <c:pt idx="3">
                  <c:v>4.2683247905370592E-2</c:v>
                </c:pt>
                <c:pt idx="4">
                  <c:v>3.5252042995970095E-2</c:v>
                </c:pt>
                <c:pt idx="5">
                  <c:v>3.48232789903863E-2</c:v>
                </c:pt>
                <c:pt idx="6">
                  <c:v>3.2389727352653247E-2</c:v>
                </c:pt>
                <c:pt idx="7">
                  <c:v>3.1461447027138885E-2</c:v>
                </c:pt>
                <c:pt idx="8">
                  <c:v>2.8118513846784682E-2</c:v>
                </c:pt>
                <c:pt idx="9">
                  <c:v>2.6576664913846443E-2</c:v>
                </c:pt>
                <c:pt idx="10">
                  <c:v>2.593900662498572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7ECAC4"/>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006C6D"/>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r>
                      <a:rPr lang="en-US"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Glow Stick FPS50 20g</c:v>
                </c:pt>
                <c:pt idx="80">
                  <c:v>Beautycare Matte Face Lotion FPS30 50ml</c:v>
                </c:pt>
              </c:strCache>
            </c:strRef>
          </c:cat>
          <c:val>
            <c:numRef>
              <c:f>Sheet1!$B$2:$B$82</c:f>
              <c:numCache>
                <c:formatCode>General</c:formatCode>
                <c:ptCount val="81"/>
                <c:pt idx="0">
                  <c:v>6.5663873976756298E-2</c:v>
                </c:pt>
                <c:pt idx="1">
                  <c:v>3.993994885921108E-2</c:v>
                </c:pt>
                <c:pt idx="2">
                  <c:v>3.8623188246332235E-2</c:v>
                </c:pt>
                <c:pt idx="3">
                  <c:v>3.621680823865301E-2</c:v>
                </c:pt>
                <c:pt idx="4">
                  <c:v>3.4208566989159243E-2</c:v>
                </c:pt>
                <c:pt idx="5">
                  <c:v>3.0976425285203533E-2</c:v>
                </c:pt>
                <c:pt idx="6">
                  <c:v>3.0710692873554022E-2</c:v>
                </c:pt>
                <c:pt idx="7">
                  <c:v>2.8862995400176398E-2</c:v>
                </c:pt>
                <c:pt idx="8">
                  <c:v>2.7970444042764823E-2</c:v>
                </c:pt>
                <c:pt idx="9">
                  <c:v>2.6326115993629537E-2</c:v>
                </c:pt>
                <c:pt idx="10">
                  <c:v>2.4933201467410328E-2</c:v>
                </c:pt>
                <c:pt idx="11">
                  <c:v>2.3047591786086292E-2</c:v>
                </c:pt>
                <c:pt idx="12">
                  <c:v>2.2825113197719873E-2</c:v>
                </c:pt>
                <c:pt idx="13">
                  <c:v>2.1024588308108261E-2</c:v>
                </c:pt>
                <c:pt idx="14">
                  <c:v>1.9517715025451177E-2</c:v>
                </c:pt>
                <c:pt idx="15">
                  <c:v>1.9077535602072846E-2</c:v>
                </c:pt>
                <c:pt idx="16">
                  <c:v>1.8986559800113267E-2</c:v>
                </c:pt>
                <c:pt idx="17">
                  <c:v>1.8283455223395115E-2</c:v>
                </c:pt>
                <c:pt idx="18">
                  <c:v>1.8092583691820874E-2</c:v>
                </c:pt>
                <c:pt idx="19">
                  <c:v>1.6534677489231684E-2</c:v>
                </c:pt>
                <c:pt idx="20">
                  <c:v>1.6268918812540216E-2</c:v>
                </c:pt>
                <c:pt idx="21">
                  <c:v>1.5710723280457573E-2</c:v>
                </c:pt>
                <c:pt idx="22">
                  <c:v>1.3757998540139408E-2</c:v>
                </c:pt>
                <c:pt idx="23">
                  <c:v>1.3557853743112419E-2</c:v>
                </c:pt>
                <c:pt idx="24">
                  <c:v>1.3092164958529089E-2</c:v>
                </c:pt>
                <c:pt idx="25">
                  <c:v>1.2771436723721068E-2</c:v>
                </c:pt>
                <c:pt idx="26">
                  <c:v>1.2603495425422101E-2</c:v>
                </c:pt>
                <c:pt idx="27">
                  <c:v>1.2523422788738124E-2</c:v>
                </c:pt>
                <c:pt idx="28">
                  <c:v>1.2176529288420624E-2</c:v>
                </c:pt>
                <c:pt idx="29">
                  <c:v>1.1326195828701598E-2</c:v>
                </c:pt>
                <c:pt idx="30">
                  <c:v>1.1310742073077369E-2</c:v>
                </c:pt>
                <c:pt idx="31">
                  <c:v>1.089871766271148E-2</c:v>
                </c:pt>
                <c:pt idx="32">
                  <c:v>1.0551246089401629E-2</c:v>
                </c:pt>
                <c:pt idx="33">
                  <c:v>1.0363596879747349E-2</c:v>
                </c:pt>
                <c:pt idx="34">
                  <c:v>1.0182423452650644E-2</c:v>
                </c:pt>
                <c:pt idx="35">
                  <c:v>9.9373220663234261E-3</c:v>
                </c:pt>
                <c:pt idx="36">
                  <c:v>9.8343891269232347E-3</c:v>
                </c:pt>
                <c:pt idx="37">
                  <c:v>9.2278132722648093E-3</c:v>
                </c:pt>
                <c:pt idx="38">
                  <c:v>9.1964721098305915E-3</c:v>
                </c:pt>
                <c:pt idx="39">
                  <c:v>8.8432409366100591E-3</c:v>
                </c:pt>
                <c:pt idx="40">
                  <c:v>8.7317200478904018E-3</c:v>
                </c:pt>
                <c:pt idx="41">
                  <c:v>8.4397122954086405E-3</c:v>
                </c:pt>
                <c:pt idx="42">
                  <c:v>8.302783133216602E-3</c:v>
                </c:pt>
                <c:pt idx="43">
                  <c:v>8.0496534856078911E-3</c:v>
                </c:pt>
                <c:pt idx="44">
                  <c:v>7.9280672567569183E-3</c:v>
                </c:pt>
                <c:pt idx="45">
                  <c:v>7.7482264408873878E-3</c:v>
                </c:pt>
                <c:pt idx="46">
                  <c:v>7.5232035403216243E-3</c:v>
                </c:pt>
                <c:pt idx="47">
                  <c:v>7.1789206194561826E-3</c:v>
                </c:pt>
                <c:pt idx="48">
                  <c:v>6.9474295178491782E-3</c:v>
                </c:pt>
                <c:pt idx="49">
                  <c:v>6.8849221455455694E-3</c:v>
                </c:pt>
                <c:pt idx="50">
                  <c:v>6.6700322785795563E-3</c:v>
                </c:pt>
                <c:pt idx="51">
                  <c:v>6.5952420455862642E-3</c:v>
                </c:pt>
                <c:pt idx="52">
                  <c:v>6.3287286539301223E-3</c:v>
                </c:pt>
                <c:pt idx="53">
                  <c:v>6.2349487815516833E-3</c:v>
                </c:pt>
                <c:pt idx="54">
                  <c:v>5.9581659868117752E-3</c:v>
                </c:pt>
                <c:pt idx="55">
                  <c:v>5.8489669096922145E-3</c:v>
                </c:pt>
                <c:pt idx="56">
                  <c:v>5.2875810703482398E-3</c:v>
                </c:pt>
                <c:pt idx="57">
                  <c:v>4.9673069318894071E-3</c:v>
                </c:pt>
                <c:pt idx="58">
                  <c:v>4.9661438219890594E-3</c:v>
                </c:pt>
                <c:pt idx="59">
                  <c:v>4.7385571542711055E-3</c:v>
                </c:pt>
                <c:pt idx="60">
                  <c:v>4.7004850272473848E-3</c:v>
                </c:pt>
                <c:pt idx="61">
                  <c:v>4.6201305126087481E-3</c:v>
                </c:pt>
                <c:pt idx="62">
                  <c:v>4.5511164886437097E-3</c:v>
                </c:pt>
                <c:pt idx="63">
                  <c:v>4.430203632114201E-3</c:v>
                </c:pt>
                <c:pt idx="64">
                  <c:v>4.3769399357545197E-3</c:v>
                </c:pt>
                <c:pt idx="65">
                  <c:v>4.2203896601230575E-3</c:v>
                </c:pt>
                <c:pt idx="66">
                  <c:v>4.013083734919023E-3</c:v>
                </c:pt>
                <c:pt idx="67">
                  <c:v>3.824974392888098E-3</c:v>
                </c:pt>
                <c:pt idx="68">
                  <c:v>3.8161919291586281E-3</c:v>
                </c:pt>
                <c:pt idx="69">
                  <c:v>3.5171378912402245E-3</c:v>
                </c:pt>
                <c:pt idx="70">
                  <c:v>3.4591620833798265E-3</c:v>
                </c:pt>
                <c:pt idx="71">
                  <c:v>3.274183404509667E-3</c:v>
                </c:pt>
                <c:pt idx="72">
                  <c:v>2.9101284678602337E-3</c:v>
                </c:pt>
                <c:pt idx="73">
                  <c:v>2.8000153681768301E-3</c:v>
                </c:pt>
                <c:pt idx="74">
                  <c:v>2.6341883659040015E-3</c:v>
                </c:pt>
                <c:pt idx="75">
                  <c:v>2.4231842438365908E-3</c:v>
                </c:pt>
                <c:pt idx="76">
                  <c:v>2.4216117878474754E-3</c:v>
                </c:pt>
                <c:pt idx="77">
                  <c:v>1.8808174075985275E-3</c:v>
                </c:pt>
                <c:pt idx="78">
                  <c:v>1.8709361313294336E-3</c:v>
                </c:pt>
                <c:pt idx="79">
                  <c:v>1.7959357315548645E-3</c:v>
                </c:pt>
                <c:pt idx="80">
                  <c:v>1.1720871295422726E-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006C6D"/>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r>
                      <a:rPr lang="en-US"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Matte Face Lotion FPS30 50ml</c:v>
                </c:pt>
                <c:pt idx="80">
                  <c:v>Beautycare Glow Serum FPS50 30ml</c:v>
                </c:pt>
              </c:strCache>
            </c:strRef>
          </c:cat>
          <c:val>
            <c:numRef>
              <c:f>Sheet1!$B$2:$B$82</c:f>
              <c:numCache>
                <c:formatCode>General</c:formatCode>
                <c:ptCount val="81"/>
                <c:pt idx="0">
                  <c:v>6.5680126883717618E-2</c:v>
                </c:pt>
                <c:pt idx="1">
                  <c:v>3.9957506902475064E-2</c:v>
                </c:pt>
                <c:pt idx="2">
                  <c:v>3.8633460350535546E-2</c:v>
                </c:pt>
                <c:pt idx="3">
                  <c:v>3.6221328609993692E-2</c:v>
                </c:pt>
                <c:pt idx="4">
                  <c:v>3.4217438080369048E-2</c:v>
                </c:pt>
                <c:pt idx="5">
                  <c:v>3.0983717667568092E-2</c:v>
                </c:pt>
                <c:pt idx="6">
                  <c:v>3.0728737291644503E-2</c:v>
                </c:pt>
                <c:pt idx="7">
                  <c:v>2.887858565628898E-2</c:v>
                </c:pt>
                <c:pt idx="8">
                  <c:v>2.798216502704574E-2</c:v>
                </c:pt>
                <c:pt idx="9">
                  <c:v>2.6333874634694266E-2</c:v>
                </c:pt>
                <c:pt idx="10">
                  <c:v>2.4939284167167286E-2</c:v>
                </c:pt>
                <c:pt idx="11">
                  <c:v>2.3055769355706527E-2</c:v>
                </c:pt>
                <c:pt idx="12">
                  <c:v>2.2840786119098407E-2</c:v>
                </c:pt>
                <c:pt idx="13">
                  <c:v>2.1035454340043818E-2</c:v>
                </c:pt>
                <c:pt idx="14">
                  <c:v>1.9539789330226983E-2</c:v>
                </c:pt>
                <c:pt idx="15">
                  <c:v>1.9082301584987606E-2</c:v>
                </c:pt>
                <c:pt idx="16">
                  <c:v>1.9000944223501563E-2</c:v>
                </c:pt>
                <c:pt idx="17">
                  <c:v>1.8294358162106467E-2</c:v>
                </c:pt>
                <c:pt idx="18">
                  <c:v>1.8106997829673319E-2</c:v>
                </c:pt>
                <c:pt idx="19">
                  <c:v>1.654413495884131E-2</c:v>
                </c:pt>
                <c:pt idx="20">
                  <c:v>1.627841133895706E-2</c:v>
                </c:pt>
                <c:pt idx="21">
                  <c:v>1.5719295220551266E-2</c:v>
                </c:pt>
                <c:pt idx="22">
                  <c:v>1.3769567615732906E-2</c:v>
                </c:pt>
                <c:pt idx="23">
                  <c:v>1.3565027925257933E-2</c:v>
                </c:pt>
                <c:pt idx="24">
                  <c:v>1.3108525253910602E-2</c:v>
                </c:pt>
                <c:pt idx="25">
                  <c:v>1.2780921910712567E-2</c:v>
                </c:pt>
                <c:pt idx="26">
                  <c:v>1.2612049607195669E-2</c:v>
                </c:pt>
                <c:pt idx="27">
                  <c:v>1.2543051775218091E-2</c:v>
                </c:pt>
                <c:pt idx="28">
                  <c:v>1.2180229477665509E-2</c:v>
                </c:pt>
                <c:pt idx="29">
                  <c:v>1.1347109298291044E-2</c:v>
                </c:pt>
                <c:pt idx="30">
                  <c:v>1.131774114255296E-2</c:v>
                </c:pt>
                <c:pt idx="31">
                  <c:v>1.0915300477033809E-2</c:v>
                </c:pt>
                <c:pt idx="32">
                  <c:v>1.0565123618395473E-2</c:v>
                </c:pt>
                <c:pt idx="33">
                  <c:v>1.0368990078066461E-2</c:v>
                </c:pt>
                <c:pt idx="34">
                  <c:v>1.0187650874663083E-2</c:v>
                </c:pt>
                <c:pt idx="35">
                  <c:v>9.9469794382558967E-3</c:v>
                </c:pt>
                <c:pt idx="36">
                  <c:v>9.8409071992981642E-3</c:v>
                </c:pt>
                <c:pt idx="37">
                  <c:v>9.2361048592867305E-3</c:v>
                </c:pt>
                <c:pt idx="38">
                  <c:v>9.2006383301484525E-3</c:v>
                </c:pt>
                <c:pt idx="39">
                  <c:v>8.8587570286603676E-3</c:v>
                </c:pt>
                <c:pt idx="40">
                  <c:v>8.7350299261305213E-3</c:v>
                </c:pt>
                <c:pt idx="41">
                  <c:v>8.4513635341965446E-3</c:v>
                </c:pt>
                <c:pt idx="42">
                  <c:v>8.3090589666483076E-3</c:v>
                </c:pt>
                <c:pt idx="43">
                  <c:v>8.0574346280132304E-3</c:v>
                </c:pt>
                <c:pt idx="44">
                  <c:v>7.9315297234209062E-3</c:v>
                </c:pt>
                <c:pt idx="45">
                  <c:v>7.7532746520670315E-3</c:v>
                </c:pt>
                <c:pt idx="46">
                  <c:v>7.5321875491321149E-3</c:v>
                </c:pt>
                <c:pt idx="47">
                  <c:v>7.1841095943477717E-3</c:v>
                </c:pt>
                <c:pt idx="48">
                  <c:v>6.9601382120610365E-3</c:v>
                </c:pt>
                <c:pt idx="49">
                  <c:v>6.8926437062785395E-3</c:v>
                </c:pt>
                <c:pt idx="50">
                  <c:v>6.6785930567428986E-3</c:v>
                </c:pt>
                <c:pt idx="51">
                  <c:v>6.601155267295448E-3</c:v>
                </c:pt>
                <c:pt idx="52">
                  <c:v>6.3380328626409226E-3</c:v>
                </c:pt>
                <c:pt idx="53">
                  <c:v>6.2412180720817171E-3</c:v>
                </c:pt>
                <c:pt idx="54">
                  <c:v>5.9629769341464928E-3</c:v>
                </c:pt>
                <c:pt idx="55">
                  <c:v>5.8548844776691936E-3</c:v>
                </c:pt>
                <c:pt idx="56">
                  <c:v>5.2933183129397895E-3</c:v>
                </c:pt>
                <c:pt idx="57">
                  <c:v>4.9760712879156265E-3</c:v>
                </c:pt>
                <c:pt idx="58">
                  <c:v>4.9719177706783147E-3</c:v>
                </c:pt>
                <c:pt idx="59">
                  <c:v>4.7505750064386646E-3</c:v>
                </c:pt>
                <c:pt idx="60">
                  <c:v>4.7096276147499082E-3</c:v>
                </c:pt>
                <c:pt idx="61">
                  <c:v>4.6289663294508034E-3</c:v>
                </c:pt>
                <c:pt idx="62">
                  <c:v>4.5633002906404043E-3</c:v>
                </c:pt>
                <c:pt idx="63">
                  <c:v>4.4427387703363831E-3</c:v>
                </c:pt>
                <c:pt idx="64">
                  <c:v>4.3837971704164492E-3</c:v>
                </c:pt>
                <c:pt idx="65">
                  <c:v>4.231373900200854E-3</c:v>
                </c:pt>
                <c:pt idx="66">
                  <c:v>4.018401367938588E-3</c:v>
                </c:pt>
                <c:pt idx="67">
                  <c:v>3.8325678201181629E-3</c:v>
                </c:pt>
                <c:pt idx="68">
                  <c:v>3.8243944855051713E-3</c:v>
                </c:pt>
                <c:pt idx="69">
                  <c:v>3.5308480431136434E-3</c:v>
                </c:pt>
                <c:pt idx="70">
                  <c:v>3.4662200503796418E-3</c:v>
                </c:pt>
                <c:pt idx="71">
                  <c:v>3.280116975179635E-3</c:v>
                </c:pt>
                <c:pt idx="72">
                  <c:v>2.9133632994126292E-3</c:v>
                </c:pt>
                <c:pt idx="73">
                  <c:v>2.8079312088553302E-3</c:v>
                </c:pt>
                <c:pt idx="74">
                  <c:v>2.6377587539613851E-3</c:v>
                </c:pt>
                <c:pt idx="75">
                  <c:v>2.4305597085553972E-3</c:v>
                </c:pt>
                <c:pt idx="76">
                  <c:v>2.4278744913714557E-3</c:v>
                </c:pt>
                <c:pt idx="77">
                  <c:v>1.8850241057814341E-3</c:v>
                </c:pt>
                <c:pt idx="78">
                  <c:v>1.8779940231598118E-3</c:v>
                </c:pt>
                <c:pt idx="79">
                  <c:v>1.1738971873263703E-3</c:v>
                </c:pt>
                <c:pt idx="80">
                  <c:v>1.0585872171616454E-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7ECAC4"/>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006C6D"/>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r>
                      <a:rPr lang="en-US"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Ocean Potion Spray FPS30 156g</c:v>
                </c:pt>
                <c:pt idx="76">
                  <c:v>Beautycare Sensitive Face Lotion FPS50+ 50ml</c:v>
                </c:pt>
                <c:pt idx="77">
                  <c:v>Hawaiian Tropic Mineral Brush FPS30 4.25g</c:v>
                </c:pt>
                <c:pt idx="78">
                  <c:v>Beautycare Antioxidant Face Lotion FPS50+ 50ml</c:v>
                </c:pt>
                <c:pt idx="79">
                  <c:v>Beautycare Pro Age Color Face Fluid FPS50+ 50ml</c:v>
                </c:pt>
                <c:pt idx="80">
                  <c:v>Beautycare Matte Face Lotion FPS30 50ml</c:v>
                </c:pt>
              </c:strCache>
            </c:strRef>
          </c:cat>
          <c:val>
            <c:numRef>
              <c:f>Sheet1!$B$2:$B$82</c:f>
              <c:numCache>
                <c:formatCode>General</c:formatCode>
                <c:ptCount val="81"/>
                <c:pt idx="0">
                  <c:v>6.5662413721924953E-2</c:v>
                </c:pt>
                <c:pt idx="1">
                  <c:v>3.9946608175141299E-2</c:v>
                </c:pt>
                <c:pt idx="2">
                  <c:v>3.8624990060173572E-2</c:v>
                </c:pt>
                <c:pt idx="3">
                  <c:v>3.6214282278483702E-2</c:v>
                </c:pt>
                <c:pt idx="4">
                  <c:v>3.4207539169654411E-2</c:v>
                </c:pt>
                <c:pt idx="5">
                  <c:v>3.0966075786233206E-2</c:v>
                </c:pt>
                <c:pt idx="6">
                  <c:v>3.0707905716045241E-2</c:v>
                </c:pt>
                <c:pt idx="7">
                  <c:v>2.8864663939362038E-2</c:v>
                </c:pt>
                <c:pt idx="8">
                  <c:v>2.7973335535314291E-2</c:v>
                </c:pt>
                <c:pt idx="9">
                  <c:v>2.6325723540013134E-2</c:v>
                </c:pt>
                <c:pt idx="10">
                  <c:v>2.4924896198281272E-2</c:v>
                </c:pt>
                <c:pt idx="11">
                  <c:v>2.3047234153280333E-2</c:v>
                </c:pt>
                <c:pt idx="12">
                  <c:v>2.2832369340132778E-2</c:v>
                </c:pt>
                <c:pt idx="13">
                  <c:v>2.102805697815309E-2</c:v>
                </c:pt>
                <c:pt idx="14">
                  <c:v>1.9523674931007887E-2</c:v>
                </c:pt>
                <c:pt idx="15">
                  <c:v>1.9077723501787509E-2</c:v>
                </c:pt>
                <c:pt idx="16">
                  <c:v>1.897620682498084E-2</c:v>
                </c:pt>
                <c:pt idx="17">
                  <c:v>1.8288992000155938E-2</c:v>
                </c:pt>
                <c:pt idx="18">
                  <c:v>1.8088918698491809E-2</c:v>
                </c:pt>
                <c:pt idx="19">
                  <c:v>1.6536405289234966E-2</c:v>
                </c:pt>
                <c:pt idx="20">
                  <c:v>1.6265514572348393E-2</c:v>
                </c:pt>
                <c:pt idx="21">
                  <c:v>1.5714460615921636E-2</c:v>
                </c:pt>
                <c:pt idx="22">
                  <c:v>1.3763760392911484E-2</c:v>
                </c:pt>
                <c:pt idx="23">
                  <c:v>1.3555282432790845E-2</c:v>
                </c:pt>
                <c:pt idx="24">
                  <c:v>1.3093647855283622E-2</c:v>
                </c:pt>
                <c:pt idx="25">
                  <c:v>1.2769228417383571E-2</c:v>
                </c:pt>
                <c:pt idx="26">
                  <c:v>1.2596736167768238E-2</c:v>
                </c:pt>
                <c:pt idx="27">
                  <c:v>1.2517855015760949E-2</c:v>
                </c:pt>
                <c:pt idx="28">
                  <c:v>1.2171863580688296E-2</c:v>
                </c:pt>
                <c:pt idx="29">
                  <c:v>1.1339871852237671E-2</c:v>
                </c:pt>
                <c:pt idx="30">
                  <c:v>1.1309432096200811E-2</c:v>
                </c:pt>
                <c:pt idx="31">
                  <c:v>1.0901524621719274E-2</c:v>
                </c:pt>
                <c:pt idx="32">
                  <c:v>1.0543766476247274E-2</c:v>
                </c:pt>
                <c:pt idx="33">
                  <c:v>1.0361086241248169E-2</c:v>
                </c:pt>
                <c:pt idx="34">
                  <c:v>1.0177952238242213E-2</c:v>
                </c:pt>
                <c:pt idx="35">
                  <c:v>9.9375087186595219E-3</c:v>
                </c:pt>
                <c:pt idx="36">
                  <c:v>9.8294975494326899E-3</c:v>
                </c:pt>
                <c:pt idx="37">
                  <c:v>9.2276650470675264E-3</c:v>
                </c:pt>
                <c:pt idx="38">
                  <c:v>9.1901399572895184E-3</c:v>
                </c:pt>
                <c:pt idx="39">
                  <c:v>8.836029652315976E-3</c:v>
                </c:pt>
                <c:pt idx="40">
                  <c:v>8.7293254558230785E-3</c:v>
                </c:pt>
                <c:pt idx="41">
                  <c:v>8.43788567542288E-3</c:v>
                </c:pt>
                <c:pt idx="42">
                  <c:v>8.2999196214144956E-3</c:v>
                </c:pt>
                <c:pt idx="43">
                  <c:v>8.0508998784931101E-3</c:v>
                </c:pt>
                <c:pt idx="44">
                  <c:v>7.9160129379431381E-3</c:v>
                </c:pt>
                <c:pt idx="45">
                  <c:v>7.7426275152880841E-3</c:v>
                </c:pt>
                <c:pt idx="46">
                  <c:v>7.5266574301965554E-3</c:v>
                </c:pt>
                <c:pt idx="47">
                  <c:v>7.1796543591046988E-3</c:v>
                </c:pt>
                <c:pt idx="48">
                  <c:v>6.9526168455174044E-3</c:v>
                </c:pt>
                <c:pt idx="49">
                  <c:v>6.884553125082989E-3</c:v>
                </c:pt>
                <c:pt idx="50">
                  <c:v>6.6729443902737448E-3</c:v>
                </c:pt>
                <c:pt idx="51">
                  <c:v>6.590636907663476E-3</c:v>
                </c:pt>
                <c:pt idx="52">
                  <c:v>6.3326597313345112E-3</c:v>
                </c:pt>
                <c:pt idx="53">
                  <c:v>6.2349575979738971E-3</c:v>
                </c:pt>
                <c:pt idx="54">
                  <c:v>5.9483567284673317E-3</c:v>
                </c:pt>
                <c:pt idx="55">
                  <c:v>5.8452598291264864E-3</c:v>
                </c:pt>
                <c:pt idx="56">
                  <c:v>5.2881477303507738E-3</c:v>
                </c:pt>
                <c:pt idx="57">
                  <c:v>4.970397810326369E-3</c:v>
                </c:pt>
                <c:pt idx="58">
                  <c:v>4.9671106295805928E-3</c:v>
                </c:pt>
                <c:pt idx="59">
                  <c:v>4.7440431891659857E-3</c:v>
                </c:pt>
                <c:pt idx="60">
                  <c:v>4.7059844885293514E-3</c:v>
                </c:pt>
                <c:pt idx="61">
                  <c:v>4.6233312364563099E-3</c:v>
                </c:pt>
                <c:pt idx="62">
                  <c:v>4.5550894419351083E-3</c:v>
                </c:pt>
                <c:pt idx="63">
                  <c:v>4.4313606168678238E-3</c:v>
                </c:pt>
                <c:pt idx="64">
                  <c:v>4.3789224498834711E-3</c:v>
                </c:pt>
                <c:pt idx="65">
                  <c:v>4.2219031965578168E-3</c:v>
                </c:pt>
                <c:pt idx="66">
                  <c:v>4.015361102088227E-3</c:v>
                </c:pt>
                <c:pt idx="67">
                  <c:v>3.828011638267475E-3</c:v>
                </c:pt>
                <c:pt idx="68">
                  <c:v>3.8156780994628129E-3</c:v>
                </c:pt>
                <c:pt idx="69">
                  <c:v>3.5214244970939741E-3</c:v>
                </c:pt>
                <c:pt idx="70">
                  <c:v>3.4601572842784638E-3</c:v>
                </c:pt>
                <c:pt idx="71">
                  <c:v>3.2740051606684503E-3</c:v>
                </c:pt>
                <c:pt idx="72">
                  <c:v>2.9089237772195954E-3</c:v>
                </c:pt>
                <c:pt idx="73">
                  <c:v>2.8003524965194457E-3</c:v>
                </c:pt>
                <c:pt idx="74">
                  <c:v>2.6337454227544042E-3</c:v>
                </c:pt>
                <c:pt idx="75">
                  <c:v>2.4234291941444132E-3</c:v>
                </c:pt>
                <c:pt idx="76">
                  <c:v>2.4216663863648163E-3</c:v>
                </c:pt>
                <c:pt idx="77">
                  <c:v>1.880176968390278E-3</c:v>
                </c:pt>
                <c:pt idx="78">
                  <c:v>1.8672416018483792E-3</c:v>
                </c:pt>
                <c:pt idx="79">
                  <c:v>1.8284658792961479E-3</c:v>
                </c:pt>
                <c:pt idx="80">
                  <c:v>1.1692623334537302E-3</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91CBE-5990-675E-C7F8-0F3E0C5196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66A5F1-92FF-34D8-3D0B-37BE515D9C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2CAEC0-C54B-EBDC-0439-ED6F4DEFB081}"/>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683141F9-7B56-E650-0C06-F6672458639B}"/>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3491109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8/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oleObject" Target="../embeddings/oleObject28.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7.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8.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2.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7.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4.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1.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DC56BE-1B7B-1C0A-31EB-99066068D5C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B6D4277-DA1A-87A8-C1F1-EB7F151A8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9BC2DFA6-A1EC-FFF2-0C28-F0AB9E591D16}"/>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17FADE20-E3E4-DE70-3FAC-29390FE7031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8C47C278-54DB-758C-8158-29108E52D831}"/>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8/2025</a:t>
            </a:fld>
            <a:endParaRPr lang="en-US"/>
          </a:p>
        </p:txBody>
      </p:sp>
      <p:sp>
        <p:nvSpPr>
          <p:cNvPr id="19" name="Slide Number Placeholder 18">
            <a:extLst>
              <a:ext uri="{FF2B5EF4-FFF2-40B4-BE49-F238E27FC236}">
                <a16:creationId xmlns:a16="http://schemas.microsoft.com/office/drawing/2014/main" id="{BC20814F-366B-8231-E6E3-BA9F779DD23E}"/>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F8DE1F55-63AC-6947-5E50-B756717C0903}"/>
              </a:ext>
            </a:extLst>
          </p:cNvPr>
          <p:cNvGraphicFramePr>
            <a:graphicFrameLocks noGrp="1"/>
          </p:cNvGraphicFramePr>
          <p:nvPr/>
        </p:nvGraphicFramePr>
        <p:xfrm>
          <a:off x="503238" y="1049315"/>
          <a:ext cx="8243580" cy="4015890"/>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204974">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204974">
                <a:tc>
                  <a:txBody>
                    <a:bodyPr/>
                    <a:lstStyle/>
                    <a:p>
                      <a:pPr algn="ctr">
                        <a:defRPr sz="800">
                          <a:latin typeface="Nexa Book"/>
                        </a:defRPr>
                      </a:pPr>
                      <a:r>
                        <a:rPr sz="700"/>
                        <a:t>Hawaiian Tropic Ozono Stick FPS50+ 15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204974">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204974">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204974">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204974">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204974">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204974">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204974">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204974">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204974">
                <a:tc>
                  <a:txBody>
                    <a:bodyPr/>
                    <a:lstStyle/>
                    <a:p>
                      <a:pPr algn="ctr">
                        <a:defRPr sz="800">
                          <a:latin typeface="Nexa Book"/>
                        </a:defRPr>
                      </a:pPr>
                      <a:r>
                        <a:rPr sz="700"/>
                        <a:t>Banana Boat Aqua Protect Sport Spray FPS50+ 2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204974">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204974">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204974">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204974">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204974">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204974">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9B563A14-21D0-5DF4-8EEE-92C3E152A1DC}"/>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41121090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E3D6B-1832-3295-D22A-44F99B88FB7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5715C64-1A4A-2542-33F9-526B1DE1B95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42179C4F-754C-D44B-BBED-5D5C1ABD8803}"/>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1BDEE9D6-2B1E-076B-0D9B-13D52200821E}"/>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C4E2818F-770F-0156-907F-1414B5D254E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C0A748FA-21EE-6DB9-1757-AFF11AB8F83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A4D2A47A-C9C2-EC93-62DF-0338A8D76BE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F0F5024C-7298-4FD2-8A71-D27DA5667CD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946EA1BD-092B-E988-3083-377351197BCA}"/>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E27633E8-B590-A446-E10E-5EEB7BDC1857}"/>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891FC84D-76C3-2561-6665-95147853D58B}"/>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DA3C6127-5751-C353-C35C-A75ED3AB15BA}"/>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38F20EC6-6EE4-49C1-8C26-6DA07CA2B8DD}"/>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07081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006C40-F9DF-3A4D-5CFA-F2F183B9B9B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80DEB85-2E61-77FE-ACF2-F2D64CACB03F}"/>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81337FE-0E5D-2B73-2375-BA07CAE9A09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5740B05-A960-EABB-C9D4-AE8B0EB6E17E}"/>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0B7EAD4-82C1-A062-AB79-EF534D5728B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E94E73F9-1D60-DE1D-06BC-3DF3D0B3161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4803B60B-F465-474D-9B18-8147BF806CBD}"/>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9B8E8C69-F046-6705-9B20-7EDEA840896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B41816E1-DF72-C028-A97B-9CD96565A0F0}"/>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C70D456A-36C3-8987-682E-9B63297731F2}"/>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22F763D2-9173-C572-DF82-F29F9690A525}"/>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D525DE8F-6B02-9E61-5747-BFCEB11BDE1F}"/>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96972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7B277D-5EA2-AF27-913C-CA106BFD903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CFA46C9-9564-DF18-1173-7A90F81B865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77E76D7-B116-11EA-329A-34EEC25D8A77}"/>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569734B8-1C0C-A94A-F766-49F7F36B1EC5}"/>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F8558AD3-5666-3C79-F079-19D6FF2145C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CE3DD541-2622-F45A-0B0E-0B0DD9ED006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EFFF48A6-E0BC-7C93-089D-6620472F6EB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D228328F-902A-E3C7-7D43-972C78E44B7F}"/>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E389D3CC-2997-E71F-1254-02994B475C80}"/>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EF1D0A71-4386-6652-A1FD-442C2415FFBD}"/>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9C68258C-F623-2F1C-ADFF-6C4B971AA7FC}"/>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14668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E1CCFE-7865-883C-72C7-42D08FC67134}"/>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EB59AD2-AA15-BABE-FC6A-A9ED5F2C00B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A15A223-B6B2-45A9-B76B-2B68FBB7F341}"/>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81646D09-6C78-5AC2-0DF8-230218A6116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6D44BDC7-46FA-8E29-FB27-0FDA9F4AF2C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FAA826DC-3C80-EDC6-1558-44BAB189A68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B9AD9D58-80E8-DFF2-842F-74A2E3CFC457}"/>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90B6E4D3-4C59-2B1B-FB9A-BC7DAE8EDF5D}"/>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73769E06-28BF-725B-DE5D-3D41A3D1A947}"/>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33860293-1160-3FA8-7919-D80691F9A1F8}"/>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5010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FD2B8-A86F-6089-1F73-E26291EECCF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BE2F84B-F8DA-19B0-24D6-227D4963313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1802AB5D-B3EE-9F2A-4EF9-699DA11DC784}"/>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A83CC9A3-4253-27A4-17ED-F44E3B1FB007}"/>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3FF2BADE-3518-3199-B4D5-FD121B420716}"/>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D1E0D4E-61AA-CAC4-BE57-4AE8347BFBF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132E72DC-5AD9-BBC2-76A1-56625AA5F6F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8D598341-195E-F733-677B-EEE4CD16FE17}"/>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46EC3ED4-231C-9F5E-2979-403C7034196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98F58390-1357-0AF1-8D00-33BB4C8FB7A8}"/>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15B7AB36-137E-5FAD-0398-58D3B0C15DAC}"/>
              </a:ext>
            </a:extLst>
          </p:cNvPr>
          <p:cNvGraphicFramePr>
            <a:graphicFrameLocks/>
          </p:cNvGraphicFramePr>
          <p:nvPr>
            <p:extLst>
              <p:ext uri="{D42A27DB-BD31-4B8C-83A1-F6EECF244321}">
                <p14:modId xmlns:p14="http://schemas.microsoft.com/office/powerpoint/2010/main" val="1824888232"/>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25DCEAB5-CB1F-A813-DFF5-236B6CF0765F}"/>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EFDA9611-2C36-2797-2D28-C3EE5FA9D94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39E77C80-68AD-0B0F-B3C5-94A058BEB36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874572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443DE-E912-A26E-CD98-70E0B609A0C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E9090D7-3F8E-62F1-2D5F-FA2DFE6C854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A835060-2686-8FEC-3205-030A32376902}"/>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DB569D63-A606-1C6F-D94A-7E17AA2F95CD}"/>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B6CAC427-4179-B5D3-1646-7915B457530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C3D8A0D0-0A25-7E4B-0E0C-EE28954D03F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B5B12013-B74A-B74A-5F0E-0DAE621E74C9}"/>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79163172-33A6-B72C-FA9E-BA5A929D1628}"/>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F14B51BF-7D17-A012-B02D-41D3FF86CF0E}"/>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D0A1A2CA-C6F0-5CFD-20DA-BE0FA03E2F7E}"/>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DEB69D0D-9500-9A40-E40A-DED8B2272CA9}"/>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477238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E874C-3BB1-BA13-68CF-F6AFDD8CD41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D37163C-9A40-825F-6D6D-30452D57B14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27B9FF6-7AA5-F603-2958-9C05CEBD4400}"/>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DDEDB143-30E5-24E8-0C74-900502339DD2}"/>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DDAAA497-48DD-3634-1FBF-9D3F7899965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9D3A4A1F-34E5-13E1-EF51-399D6042E0A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35A813A2-FD09-8FBA-0096-3C6A7307D109}"/>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54F95418-A416-E464-65DB-86997A69CFD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B214EC79-0E2F-363D-70E7-17662D3685D6}"/>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15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8573CBA-55B1-94AD-6B10-99EBAEC6F68E}"/>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751C749F-27E9-0F94-7D8B-23B3D8CB7AF8}"/>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508AA853-AFAB-72C3-B383-47A79115DA28}"/>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6048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27FB8-2EC2-DEC1-4D0F-2771B5C1471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C492221-7C23-09CC-0C54-1D3B085D72C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E2201DB-9F26-0AA5-854A-9934474803E6}"/>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FF5EC4E-EE28-AED1-EC5B-C8F2B940A5B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A7AB506F-D76E-0E67-2BDA-437ABFEA35B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A715B154-8D13-79DA-DC55-F70480B5D3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0" name="Content Placeholder 9">
            <a:extLst>
              <a:ext uri="{FF2B5EF4-FFF2-40B4-BE49-F238E27FC236}">
                <a16:creationId xmlns:a16="http://schemas.microsoft.com/office/drawing/2014/main" id="{2C4C68D5-DF8B-A9AF-43DD-202E6E067DA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596860ED-1E05-4427-CF1A-73083CBFD1CD}"/>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7780DFB2-C790-CFDE-AD8C-97A2F08F174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544EA17F-01FC-C8F1-4084-D0F011654FE3}"/>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5521BD9E-9C83-5464-3A97-246B1DD39651}"/>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28A049E2-55EB-31A3-7503-7E0275625A04}"/>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3B747984-BD05-AE94-A21D-DF39A92A92AC}"/>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5A5A9778-4E65-A9F6-C115-5152884CA2E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7707843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DFEC4-E332-07A4-A3CC-040CA9AA48D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C10AAB0-CEE7-3E53-158B-3BDDD56EE78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CA05D3D8-A407-5B4C-1AB6-A4BF23134C8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2B62E28A-FFDE-667D-ED87-7E871553ED4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B1D54013-61C2-7CB9-47E0-168243D5146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dirty="0"/>
          </a:p>
        </p:txBody>
      </p:sp>
      <p:sp>
        <p:nvSpPr>
          <p:cNvPr id="8" name="Text Placeholder 7">
            <a:extLst>
              <a:ext uri="{FF2B5EF4-FFF2-40B4-BE49-F238E27FC236}">
                <a16:creationId xmlns:a16="http://schemas.microsoft.com/office/drawing/2014/main" id="{D93FDECF-7A25-A077-9044-88BDB25B3B8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7FE101F-3036-5926-245D-B4EF89053E18}"/>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FB66994B-258F-F486-4341-B9865D75627B}"/>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DEE79280-09FA-0027-EF38-C1825A64F82F}"/>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76A7F33E-A410-CE5A-7439-0348D01DAD81}"/>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310B1857-7DEF-2A21-A085-DDBB61A72760}"/>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161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6EC170-93FA-8467-3CBC-1F1C0E7F53D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03FB8B3-7290-A825-2446-0D2FCBBFEBD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0047211-D9B3-CD13-65DF-F613FD3DDCC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8A868FAA-2AC3-7669-0162-8E8FE793C56C}"/>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20DCF96C-CC9A-F6A5-6076-38EA3EE101E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2692BB94-AEF2-EA1D-F909-C50BC223A0B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2EFC9129-C42E-CBE8-3A50-95477D2C2E13}"/>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9AE2FC05-13B7-D2DB-BBE4-C97424EC215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E718832-F9EA-C3E3-A894-E2356FD5F8B8}"/>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9F3B22B-D0DE-0794-0F9B-1ADB94BBDD3B}"/>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E0CBD5A7-7677-9BEA-37FE-8995E466C920}"/>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5904B0EB-6F2E-904B-A1E3-A83DA56AB1C1}"/>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13003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3AAA3-474D-0D81-2DBD-C81FBB92E3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97D920F-9FB9-FD78-E2C6-FDC4B623B7E1}"/>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6FD789C-E8AA-16B7-AA0C-4DA6798EE378}"/>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C3026981-62DE-10BC-5BA9-1DF8CF071C19}"/>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F2011969-845A-C99A-FCFC-E9227F89EB8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69CC3988-D3E8-FC21-9762-142A21FFC79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DD341F31-B72F-A664-8AF2-1FDC9ABC0E71}"/>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7B593465-00AE-69D9-EBCB-75CF8E94B609}"/>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0628365-9E78-D673-0FDB-882A3BC8C71B}"/>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87F03EA4-232A-54F5-E9BA-CAAD75770EAA}"/>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C4EF9BB1-53F3-D34B-27D9-1FFB2622CC3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8CAF302-15EE-DAAE-B81C-2786FF957375}"/>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414586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DE0A3-3617-7CD7-085F-78E34D78E07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C8C9786-F557-8F32-1AEB-71FE244853F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D4717E81-F401-95F1-25CD-48350665B7CB}"/>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A30A036-A64A-2CEF-13E0-1FC5C1D2BB1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80BD0F54-8812-8AD5-086E-C76690C0F9C1}"/>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F2ED30D-E94B-3E3C-8A56-02C3A0A9D8B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0" name="Content Placeholder 9">
            <a:extLst>
              <a:ext uri="{FF2B5EF4-FFF2-40B4-BE49-F238E27FC236}">
                <a16:creationId xmlns:a16="http://schemas.microsoft.com/office/drawing/2014/main" id="{FEB23046-E368-6BE9-89B7-81662AF512E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87079E51-E31F-4C9F-58D8-748DEECD713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C76F85A7-C3F0-CF74-0B5F-958089E048E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EECE8E7-7FFA-FA15-F9C6-98E6082845D3}"/>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27049308-865B-EACE-81BA-964E93F509DA}"/>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6A7FF8C2-BFB2-ACC1-6220-CACEB65AAF81}"/>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4EDC9C63-79C2-1AC9-FA6A-27787FADE19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49E97927-8636-CB2E-1BF2-07A034836635}"/>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9378CC7E-9F8E-2BD2-C5AE-400E2D95D6BD}"/>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622089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64A4F-D58C-46AD-5801-217B054151F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2D3A273-4980-F6D5-FDB5-DCD54F23D4D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587A4EDD-4A46-2566-3B9A-810107FD36DE}"/>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1807116B-EA42-C7C1-DDB4-C0E300836A0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5A354561-90C7-F395-C83D-FB0230550EF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AAA73A67-75BB-5A41-18B7-B065EB31153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549D2372-CFC3-6DE2-68BA-0C355FD1C6C3}"/>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27A83586-C51E-1E51-56FD-703665189E95}"/>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EA3F3120-54D4-E412-52B9-45DF7A04CD18}"/>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1CAE6EAE-82E8-8E2F-44F2-74957EF3F344}"/>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8EB870A5-1072-E944-02E7-D85D53359793}"/>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9638103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15B4AF-4B13-98CC-B6E4-50879A1FA67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1C3A0DF-8372-B05D-8335-5419565914D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4A327BF7-65E6-BE21-E05F-18930D23FF40}"/>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A7DC3A4F-032D-3610-825B-50BA85B0BDAE}"/>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16DDA361-3A0E-DBA2-7575-8A8EEC8B33D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8A772348-4DDE-F835-6001-58D470D35E8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BDA7094C-B7B1-6F8A-1DF2-B43A053AE5A3}"/>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29122455-300F-37B3-DAE5-C397B2D2FFE9}"/>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0C7650CA-818F-1E5A-73CB-C304A8719CED}"/>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373E91F5-50D8-2C94-FFD9-EBB2FC19F334}"/>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6E2D4A55-F407-99F5-E339-E15378E58B65}"/>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8A2E1F82-A470-42A0-2A26-6AC84AD8D837}"/>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133BE04B-E2CA-7040-6A34-B049106B9311}"/>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8476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378065-1BA3-13E8-1838-9D2689767A6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EC4AD80-D6E2-75BE-2621-0CF5F811DBB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8DFCD5FF-8DA6-5F31-E991-E5759334E8C8}"/>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86934574-39B3-0307-FE1E-8B55137FAA4E}"/>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CCC6AF0F-A19D-3B1E-5DAF-5E985A231BC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dirty="0"/>
          </a:p>
        </p:txBody>
      </p:sp>
      <p:sp>
        <p:nvSpPr>
          <p:cNvPr id="8" name="Text Placeholder 7">
            <a:extLst>
              <a:ext uri="{FF2B5EF4-FFF2-40B4-BE49-F238E27FC236}">
                <a16:creationId xmlns:a16="http://schemas.microsoft.com/office/drawing/2014/main" id="{F7AA3686-96E8-43F6-0B23-AC19B410836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EED605B4-1EE5-4660-C00A-111F38455F5A}"/>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826653F3-9192-D353-5A75-1852254B6E0A}"/>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CB22495E-0159-AE50-8D54-D2F5A7E7BD9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1B92C1E-7631-0F96-A7AD-F68B1C57EBD1}"/>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0078AFA6-E74E-3ED0-33AC-DEEF7901F188}"/>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11192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C7008-87C3-6B0D-319D-D10271C90E4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79D64AC-48D1-B835-2327-E02B20C0D6A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10396184-8CD6-0C8F-775E-A963B97A623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581CF9F0-5762-7B2F-75EE-52BD2378FE94}"/>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8DCE11CC-5BD9-4295-656D-A1A9BB5D98B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8" name="Text Placeholder 7">
            <a:extLst>
              <a:ext uri="{FF2B5EF4-FFF2-40B4-BE49-F238E27FC236}">
                <a16:creationId xmlns:a16="http://schemas.microsoft.com/office/drawing/2014/main" id="{51DD09EB-D540-88AB-9A7B-601A9C27A1D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81145F04-64A2-855C-B9E9-CFA8D923E8B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9EFBE317-420B-B95B-B3CD-262917526A4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D6AE4356-F0F1-A289-E4AC-4BCD96332EE6}"/>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64791238-CD1E-AAC8-A5DE-782B167692BE}"/>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12830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D1974-78C1-A4C0-36A2-CA4C1C22C52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94E205A-E9B4-DEE6-C312-7B495F6B6A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4E6AEE3-3FC7-564A-0DE9-A3B05985FF7B}"/>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BFC56F45-6511-18AA-625E-34CCF09FFA8E}"/>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C85EB1F5-954B-73AE-BE18-E32C659A22A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97F360F-C02A-B848-5878-B0CFA94637C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93421794-0A33-9CF8-8408-E6DC046CFC0B}"/>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BA31BA4A-43D1-1047-A058-958F5EB7B094}"/>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866717B0-8C18-B6BE-EF87-FA5845E662E2}"/>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AD57CF2F-126A-8D64-B047-BF047A84BF1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CB4FBCA-1A71-D0AB-4919-0B437E3BDEB6}"/>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CE008F4C-4FD2-6A1E-B1DD-1272BDEF73AF}"/>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29210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18C90-BB68-8DCF-A26C-AC888FB2A53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8C43357-4596-210F-3715-97D16F8F773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1657B6B-37D1-8700-1181-46AB7BCE5A6E}"/>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103E25E2-8041-FA86-731C-0BDDBF6D28E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B88FD12E-DCAD-DD64-1094-6BA7D02E88A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dirty="0"/>
          </a:p>
        </p:txBody>
      </p:sp>
      <p:sp>
        <p:nvSpPr>
          <p:cNvPr id="8" name="Text Placeholder 7">
            <a:extLst>
              <a:ext uri="{FF2B5EF4-FFF2-40B4-BE49-F238E27FC236}">
                <a16:creationId xmlns:a16="http://schemas.microsoft.com/office/drawing/2014/main" id="{2FC42FF5-F9EC-F209-2EF3-54D6BC08EF1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43CAC86D-1BE4-744C-07FD-8CB7FFCBC9D5}"/>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8D644B64-B571-FDF0-19F3-A19E14F013A0}"/>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D9DFB088-2287-54F5-1B07-268EC9142500}"/>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1F1FEC1B-7688-3D66-EC0A-F8FFA1FD078A}"/>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8749E930-B182-144A-45C3-0E91ACFBAE56}"/>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748424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2EB6AB-392D-1A62-7161-465DD65DD51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20CB033-E8AC-0A43-A1FF-530F8DC8819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8FF0E37-C103-EB0B-0D9A-1AEE71C062B8}"/>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8/2025</a:t>
            </a:fld>
            <a:endParaRPr lang="en-US" noProof="0" dirty="0"/>
          </a:p>
        </p:txBody>
      </p:sp>
      <p:sp>
        <p:nvSpPr>
          <p:cNvPr id="10" name="Footer Placeholder 9">
            <a:extLst>
              <a:ext uri="{FF2B5EF4-FFF2-40B4-BE49-F238E27FC236}">
                <a16:creationId xmlns:a16="http://schemas.microsoft.com/office/drawing/2014/main" id="{88AAEEB6-D249-9810-48FF-75820ED733E6}"/>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D7682199-7830-7AAB-A0AD-56CEE0DD8DF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8" name="Text Placeholder 7">
            <a:extLst>
              <a:ext uri="{FF2B5EF4-FFF2-40B4-BE49-F238E27FC236}">
                <a16:creationId xmlns:a16="http://schemas.microsoft.com/office/drawing/2014/main" id="{A3D49FA1-FF8B-C500-BB7F-1743ADCBA6C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6084C9FE-C90A-126E-A387-3F87A0775BB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1BF5400-2335-B496-5A1D-A5A57ADAB6B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6603525A-7ECB-D324-0939-6563A82BF39D}"/>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8AC7A812-7EC9-95DB-84E5-9CD79EC01CBA}"/>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16330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9153D-A968-D64D-E1C1-7631CA329D3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CC6AE6F-1367-6AEF-E579-955B07A9D74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226EC3FA-7957-B294-C437-2C76D9216666}"/>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9927F0EE-8009-04A9-2FE5-502F0F0411AB}"/>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8/2025</a:t>
            </a:fld>
            <a:endParaRPr lang="en-US" noProof="0"/>
          </a:p>
        </p:txBody>
      </p:sp>
      <p:sp>
        <p:nvSpPr>
          <p:cNvPr id="4" name="Footer Placeholder 3">
            <a:extLst>
              <a:ext uri="{FF2B5EF4-FFF2-40B4-BE49-F238E27FC236}">
                <a16:creationId xmlns:a16="http://schemas.microsoft.com/office/drawing/2014/main" id="{A9C31C47-7E55-5AEE-C001-0BCAFC53BC4F}"/>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179C18B-0F21-0B24-3C70-696386F4D6C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CA70E388-E9CC-5686-C1B6-AF57DB7A8AA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9011E5AE-F9F7-887A-539C-837C635750D8}"/>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81EC0694-943F-4172-9428-E5A4C56983BE}"/>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99B1DB61-72DE-30C6-DFA9-1B9061885C09}"/>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9438B80-1DFF-15DA-E033-8BFE84A32075}"/>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6D7EF7C8-FC8F-15F2-511F-BD38DC1708B1}"/>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FBA943D5-C062-4120-C74D-E47F5C8CE522}"/>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8FAE2283-A8CB-D655-CCFF-58AB54725A08}"/>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74243041-E500-B648-1304-76F291D31C52}"/>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45834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DD1CBE-6C3D-7D35-362E-CD22440258F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9882F7F-FBE0-E80C-5D08-CA21885E9DB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C3C1FB99-48AD-C09A-1BF1-70E9AF1AF96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8/2025</a:t>
            </a:fld>
            <a:endParaRPr lang="en-US" noProof="0" dirty="0"/>
          </a:p>
        </p:txBody>
      </p:sp>
      <p:sp>
        <p:nvSpPr>
          <p:cNvPr id="11" name="Footer Placeholder 10">
            <a:extLst>
              <a:ext uri="{FF2B5EF4-FFF2-40B4-BE49-F238E27FC236}">
                <a16:creationId xmlns:a16="http://schemas.microsoft.com/office/drawing/2014/main" id="{2311B78A-675A-52B5-CC1A-E97B217F4653}"/>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7B2BC8BB-E133-B1C2-5ECB-D9B892D4846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D3D9A4CA-7B04-6A2F-A4DE-C9437EB05A7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EBBBBD5B-D5DE-AB1C-9E6B-9625FE9154DB}"/>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D820F4CD-2AB8-5015-1C8F-3DB101E0F964}"/>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D33E4DE6-366B-621E-07A1-F98F95901E0B}"/>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4FA2F21D-CA81-F82C-F664-2B2AAD5B8BEC}"/>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067B9214-1444-A440-14FE-83C248F0C530}"/>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912944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433</Words>
  <Application>Microsoft Office PowerPoint</Application>
  <PresentationFormat>On-screen Show (16:9)</PresentationFormat>
  <Paragraphs>710</Paragraphs>
  <Slides>2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7</cp:revision>
  <dcterms:created xsi:type="dcterms:W3CDTF">2024-07-08T12:20:01Z</dcterms:created>
  <dcterms:modified xsi:type="dcterms:W3CDTF">2025-08-08T11: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